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handoutMasterIdLst>
    <p:handoutMasterId r:id="rId12"/>
  </p:handoutMasterIdLst>
  <p:sldIdLst>
    <p:sldId id="264" r:id="rId2"/>
    <p:sldId id="384" r:id="rId3"/>
    <p:sldId id="396" r:id="rId4"/>
    <p:sldId id="401" r:id="rId5"/>
    <p:sldId id="383" r:id="rId6"/>
    <p:sldId id="397" r:id="rId7"/>
    <p:sldId id="398" r:id="rId8"/>
    <p:sldId id="399" r:id="rId9"/>
    <p:sldId id="400" r:id="rId10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Times New Roman" pitchFamily="18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99"/>
    <a:srgbClr val="FFFF00"/>
    <a:srgbClr val="0033CC"/>
    <a:srgbClr val="E2DCD8"/>
    <a:srgbClr val="BFF8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587" autoAdjust="0"/>
    <p:restoredTop sz="90929"/>
  </p:normalViewPr>
  <p:slideViewPr>
    <p:cSldViewPr>
      <p:cViewPr>
        <p:scale>
          <a:sx n="71" d="100"/>
          <a:sy n="71" d="100"/>
        </p:scale>
        <p:origin x="-2412" y="-36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2.jpe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2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A844A7F-981A-4A30-9953-F2CEDDEF99FB}" type="doc">
      <dgm:prSet loTypeId="urn:microsoft.com/office/officeart/2005/8/layout/vProcess5" loCatId="process" qsTypeId="urn:microsoft.com/office/officeart/2005/8/quickstyle/3d2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C5592CB-05C9-47F4-8EE6-A60BAAEE535E}">
      <dgm:prSet phldrT="[Text]" custT="1"/>
      <dgm:spPr>
        <a:blipFill rotWithShape="0">
          <a:blip xmlns:r="http://schemas.openxmlformats.org/officeDocument/2006/relationships" r:embed="rId1"/>
          <a:tile tx="0" ty="0" sx="100000" sy="100000" flip="none" algn="tl"/>
        </a:blipFill>
        <a:ln w="15875" cmpd="sng">
          <a:solidFill>
            <a:schemeClr val="tx2">
              <a:lumMod val="95000"/>
              <a:lumOff val="5000"/>
            </a:schemeClr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en-US" sz="2400" b="1" dirty="0" smtClean="0">
              <a:solidFill>
                <a:srgbClr val="000099"/>
              </a:solidFill>
              <a:latin typeface="Bookman Old Style" pitchFamily="18" charset="0"/>
            </a:rPr>
            <a:t>1) Assets created by Credit </a:t>
          </a:r>
          <a:endParaRPr lang="en-US" sz="2400" b="1" dirty="0">
            <a:solidFill>
              <a:srgbClr val="000099"/>
            </a:solidFill>
            <a:latin typeface="Bookman Old Style" pitchFamily="18" charset="0"/>
          </a:endParaRPr>
        </a:p>
      </dgm:t>
    </dgm:pt>
    <dgm:pt modelId="{404520F5-5F2D-46FE-8518-A1400517626F}" type="parTrans" cxnId="{43280584-971F-45D7-BE7B-82FEEDDADFBE}">
      <dgm:prSet/>
      <dgm:spPr/>
      <dgm:t>
        <a:bodyPr/>
        <a:lstStyle/>
        <a:p>
          <a:endParaRPr lang="en-US"/>
        </a:p>
      </dgm:t>
    </dgm:pt>
    <dgm:pt modelId="{7F4E683A-ACBB-4920-9EB6-839788C54AA5}" type="sibTrans" cxnId="{43280584-971F-45D7-BE7B-82FEEDDADFBE}">
      <dgm:prSet/>
      <dgm:spPr/>
      <dgm:t>
        <a:bodyPr/>
        <a:lstStyle/>
        <a:p>
          <a:endParaRPr lang="en-US"/>
        </a:p>
      </dgm:t>
    </dgm:pt>
    <dgm:pt modelId="{41AFCEC9-3FC1-45AF-877A-41862036EE01}">
      <dgm:prSet phldrT="[Text]" custT="1"/>
      <dgm:spPr>
        <a:blipFill rotWithShape="0">
          <a:blip xmlns:r="http://schemas.openxmlformats.org/officeDocument/2006/relationships" r:embed="rId1"/>
          <a:tile tx="0" ty="0" sx="100000" sy="100000" flip="none" algn="tl"/>
        </a:blipFill>
        <a:ln w="15875" cmpd="sng">
          <a:solidFill>
            <a:schemeClr val="tx2">
              <a:lumMod val="95000"/>
              <a:lumOff val="5000"/>
            </a:schemeClr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en-US" sz="2400" b="1" dirty="0" smtClean="0">
              <a:solidFill>
                <a:srgbClr val="000099"/>
              </a:solidFill>
              <a:latin typeface="Bookman Old Style" pitchFamily="18" charset="0"/>
            </a:rPr>
            <a:t>2) Collaterals &amp; Security </a:t>
          </a:r>
          <a:endParaRPr lang="en-US" sz="2400" b="1" dirty="0">
            <a:solidFill>
              <a:srgbClr val="000099"/>
            </a:solidFill>
            <a:latin typeface="Bookman Old Style" pitchFamily="18" charset="0"/>
          </a:endParaRPr>
        </a:p>
      </dgm:t>
    </dgm:pt>
    <dgm:pt modelId="{A68219B4-FDF9-4A90-98F1-CD7E14C848AF}" type="parTrans" cxnId="{21F85F58-8843-4641-A4C5-F761064B3F60}">
      <dgm:prSet/>
      <dgm:spPr/>
      <dgm:t>
        <a:bodyPr/>
        <a:lstStyle/>
        <a:p>
          <a:endParaRPr lang="en-US"/>
        </a:p>
      </dgm:t>
    </dgm:pt>
    <dgm:pt modelId="{A3B51C50-7209-4E49-B816-EAFA9DF37683}" type="sibTrans" cxnId="{21F85F58-8843-4641-A4C5-F761064B3F60}">
      <dgm:prSet/>
      <dgm:spPr/>
      <dgm:t>
        <a:bodyPr/>
        <a:lstStyle/>
        <a:p>
          <a:endParaRPr lang="en-US"/>
        </a:p>
      </dgm:t>
    </dgm:pt>
    <dgm:pt modelId="{5BE4BBF8-2993-4B04-9E6D-6939C1401EEE}">
      <dgm:prSet phldrT="[Text]" custT="1"/>
      <dgm:spPr>
        <a:blipFill rotWithShape="0">
          <a:blip xmlns:r="http://schemas.openxmlformats.org/officeDocument/2006/relationships" r:embed="rId1"/>
          <a:tile tx="0" ty="0" sx="100000" sy="100000" flip="none" algn="tl"/>
        </a:blipFill>
        <a:ln w="15875" cmpd="sng">
          <a:solidFill>
            <a:schemeClr val="tx2">
              <a:lumMod val="95000"/>
              <a:lumOff val="5000"/>
            </a:schemeClr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en-US" sz="2400" b="1" dirty="0" smtClean="0">
              <a:solidFill>
                <a:srgbClr val="000099"/>
              </a:solidFill>
              <a:latin typeface="Bookman Old Style" pitchFamily="18" charset="0"/>
            </a:rPr>
            <a:t>3) </a:t>
          </a:r>
          <a:r>
            <a:rPr lang="en-US" sz="2400" b="1" dirty="0" err="1" smtClean="0">
              <a:solidFill>
                <a:srgbClr val="000099"/>
              </a:solidFill>
              <a:latin typeface="Bookman Old Style" pitchFamily="18" charset="0"/>
            </a:rPr>
            <a:t>Loanees</a:t>
          </a:r>
          <a:r>
            <a:rPr lang="en-US" sz="2400" b="1" dirty="0" smtClean="0">
              <a:solidFill>
                <a:srgbClr val="000099"/>
              </a:solidFill>
              <a:latin typeface="Bookman Old Style" pitchFamily="18" charset="0"/>
            </a:rPr>
            <a:t>, Credit/ debit/ </a:t>
          </a:r>
          <a:r>
            <a:rPr lang="en-US" sz="2400" b="1" dirty="0" err="1" smtClean="0">
              <a:solidFill>
                <a:srgbClr val="000099"/>
              </a:solidFill>
              <a:latin typeface="Bookman Old Style" pitchFamily="18" charset="0"/>
            </a:rPr>
            <a:t>Kisan</a:t>
          </a:r>
          <a:r>
            <a:rPr lang="en-US" sz="2400" b="1" dirty="0" smtClean="0">
              <a:solidFill>
                <a:srgbClr val="000099"/>
              </a:solidFill>
              <a:latin typeface="Bookman Old Style" pitchFamily="18" charset="0"/>
            </a:rPr>
            <a:t> Card holders , Account holders </a:t>
          </a:r>
          <a:endParaRPr lang="en-US" sz="2400" b="1" dirty="0">
            <a:solidFill>
              <a:srgbClr val="000099"/>
            </a:solidFill>
            <a:latin typeface="Bookman Old Style" pitchFamily="18" charset="0"/>
          </a:endParaRPr>
        </a:p>
      </dgm:t>
    </dgm:pt>
    <dgm:pt modelId="{97145FB8-07EA-4ABF-9B4E-DFEB701C15BA}" type="parTrans" cxnId="{CC77F6D3-52CB-48B4-BEC1-3B3AF96614FB}">
      <dgm:prSet/>
      <dgm:spPr/>
      <dgm:t>
        <a:bodyPr/>
        <a:lstStyle/>
        <a:p>
          <a:endParaRPr lang="en-US"/>
        </a:p>
      </dgm:t>
    </dgm:pt>
    <dgm:pt modelId="{2849D00F-BABB-4C9B-AA1B-3834F9FEDF21}" type="sibTrans" cxnId="{CC77F6D3-52CB-48B4-BEC1-3B3AF96614FB}">
      <dgm:prSet/>
      <dgm:spPr/>
      <dgm:t>
        <a:bodyPr/>
        <a:lstStyle/>
        <a:p>
          <a:endParaRPr lang="en-US"/>
        </a:p>
      </dgm:t>
    </dgm:pt>
    <dgm:pt modelId="{CC4A8144-12EA-42D4-9EE3-7DCA2BBF54C3}">
      <dgm:prSet custT="1"/>
      <dgm:spPr>
        <a:blipFill rotWithShape="0">
          <a:blip xmlns:r="http://schemas.openxmlformats.org/officeDocument/2006/relationships" r:embed="rId1"/>
          <a:tile tx="0" ty="0" sx="100000" sy="100000" flip="none" algn="tl"/>
        </a:blipFill>
        <a:ln w="15875" cmpd="sng">
          <a:solidFill>
            <a:schemeClr val="tx2">
              <a:lumMod val="95000"/>
              <a:lumOff val="5000"/>
            </a:schemeClr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en-US" sz="2400" b="1" dirty="0" smtClean="0">
              <a:solidFill>
                <a:srgbClr val="000099"/>
              </a:solidFill>
              <a:latin typeface="Bookman Old Style" pitchFamily="18" charset="0"/>
            </a:rPr>
            <a:t>5) Data Base Exchange </a:t>
          </a:r>
          <a:endParaRPr lang="en-US" sz="2400" b="1" dirty="0">
            <a:solidFill>
              <a:srgbClr val="000099"/>
            </a:solidFill>
            <a:latin typeface="Bookman Old Style" pitchFamily="18" charset="0"/>
          </a:endParaRPr>
        </a:p>
      </dgm:t>
    </dgm:pt>
    <dgm:pt modelId="{025560FD-FED0-4BC4-878E-5806C6C714B3}" type="parTrans" cxnId="{E12609A4-B461-4893-A985-5F68EF393D13}">
      <dgm:prSet/>
      <dgm:spPr/>
      <dgm:t>
        <a:bodyPr/>
        <a:lstStyle/>
        <a:p>
          <a:endParaRPr lang="en-US"/>
        </a:p>
      </dgm:t>
    </dgm:pt>
    <dgm:pt modelId="{1483F42B-D9D4-45E5-B455-33F34EA7E00F}" type="sibTrans" cxnId="{E12609A4-B461-4893-A985-5F68EF393D13}">
      <dgm:prSet/>
      <dgm:spPr/>
      <dgm:t>
        <a:bodyPr/>
        <a:lstStyle/>
        <a:p>
          <a:endParaRPr lang="en-US"/>
        </a:p>
      </dgm:t>
    </dgm:pt>
    <dgm:pt modelId="{63CAC319-1471-4269-96E1-A80824348A93}">
      <dgm:prSet custT="1"/>
      <dgm:spPr>
        <a:blipFill rotWithShape="0">
          <a:blip xmlns:r="http://schemas.openxmlformats.org/officeDocument/2006/relationships" r:embed="rId1"/>
          <a:tile tx="0" ty="0" sx="100000" sy="100000" flip="none" algn="tl"/>
        </a:blipFill>
        <a:ln w="15875" cmpd="sng">
          <a:solidFill>
            <a:schemeClr val="tx2">
              <a:lumMod val="95000"/>
              <a:lumOff val="5000"/>
            </a:schemeClr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en-US" sz="2400" b="1" dirty="0" smtClean="0">
              <a:solidFill>
                <a:srgbClr val="000099"/>
              </a:solidFill>
              <a:latin typeface="Bookman Old Style" pitchFamily="18" charset="0"/>
            </a:rPr>
            <a:t>4) Other assets of the Credit customers  and new Customers , Cross selling </a:t>
          </a:r>
          <a:endParaRPr lang="en-US" sz="2400" b="1" dirty="0">
            <a:solidFill>
              <a:srgbClr val="000099"/>
            </a:solidFill>
            <a:latin typeface="Bookman Old Style" pitchFamily="18" charset="0"/>
          </a:endParaRPr>
        </a:p>
      </dgm:t>
    </dgm:pt>
    <dgm:pt modelId="{7C719DFF-5A91-49A3-813C-B97FFB1E34F6}" type="parTrans" cxnId="{0A12469F-BA06-4B95-BA0F-2EE93651572F}">
      <dgm:prSet/>
      <dgm:spPr/>
      <dgm:t>
        <a:bodyPr/>
        <a:lstStyle/>
        <a:p>
          <a:endParaRPr lang="en-US"/>
        </a:p>
      </dgm:t>
    </dgm:pt>
    <dgm:pt modelId="{C0FADB3B-DF82-4F27-AE32-D018AAB70018}" type="sibTrans" cxnId="{0A12469F-BA06-4B95-BA0F-2EE93651572F}">
      <dgm:prSet/>
      <dgm:spPr/>
      <dgm:t>
        <a:bodyPr/>
        <a:lstStyle/>
        <a:p>
          <a:endParaRPr lang="en-US"/>
        </a:p>
      </dgm:t>
    </dgm:pt>
    <dgm:pt modelId="{AB87152E-4BEF-4D7C-AABC-81EC9EB54197}">
      <dgm:prSet/>
      <dgm:spPr/>
      <dgm:t>
        <a:bodyPr/>
        <a:lstStyle/>
        <a:p>
          <a:endParaRPr lang="en-US" sz="2400" b="1" dirty="0">
            <a:solidFill>
              <a:srgbClr val="000099"/>
            </a:solidFill>
            <a:latin typeface="Bookman Old Style" pitchFamily="18" charset="0"/>
          </a:endParaRPr>
        </a:p>
      </dgm:t>
    </dgm:pt>
    <dgm:pt modelId="{D06A49BE-8C3A-4126-A489-3D30A482C693}" type="parTrans" cxnId="{E6D5041C-FA9E-4D94-B9E8-5E9F4584E4B4}">
      <dgm:prSet/>
      <dgm:spPr/>
      <dgm:t>
        <a:bodyPr/>
        <a:lstStyle/>
        <a:p>
          <a:endParaRPr lang="en-US"/>
        </a:p>
      </dgm:t>
    </dgm:pt>
    <dgm:pt modelId="{E2F0951C-B6E2-4A22-9EDD-D46F1ED47408}" type="sibTrans" cxnId="{E6D5041C-FA9E-4D94-B9E8-5E9F4584E4B4}">
      <dgm:prSet/>
      <dgm:spPr/>
      <dgm:t>
        <a:bodyPr/>
        <a:lstStyle/>
        <a:p>
          <a:endParaRPr lang="en-US"/>
        </a:p>
      </dgm:t>
    </dgm:pt>
    <dgm:pt modelId="{FF1E5585-819A-476D-92B1-0F1D1A212555}" type="pres">
      <dgm:prSet presAssocID="{7A844A7F-981A-4A30-9953-F2CEDDEF99FB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1ACB602-2238-4062-82ED-4DF83ED03511}" type="pres">
      <dgm:prSet presAssocID="{7A844A7F-981A-4A30-9953-F2CEDDEF99FB}" presName="dummyMaxCanvas" presStyleCnt="0">
        <dgm:presLayoutVars/>
      </dgm:prSet>
      <dgm:spPr/>
    </dgm:pt>
    <dgm:pt modelId="{9EBDF5FA-2175-44B7-99FE-27D92C3754AE}" type="pres">
      <dgm:prSet presAssocID="{7A844A7F-981A-4A30-9953-F2CEDDEF99FB}" presName="FiveNodes_1" presStyleLbl="node1" presStyleIdx="0" presStyleCnt="5" custLinFactNeighborX="-1093" custLinFactNeighborY="-1416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85FFDAC-3FE4-41DB-90DC-0C822155528E}" type="pres">
      <dgm:prSet presAssocID="{7A844A7F-981A-4A30-9953-F2CEDDEF99FB}" presName="FiveNodes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37472D-84AF-4882-B026-549CB5821C04}" type="pres">
      <dgm:prSet presAssocID="{7A844A7F-981A-4A30-9953-F2CEDDEF99FB}" presName="FiveNodes_3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93276E1-B70D-4099-A5BA-B4299B1BF9AB}" type="pres">
      <dgm:prSet presAssocID="{7A844A7F-981A-4A30-9953-F2CEDDEF99FB}" presName="FiveNodes_4" presStyleLbl="node1" presStyleIdx="3" presStyleCnt="5" custLinFactNeighborX="-1304" custLinFactNeighborY="-39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937BCB4-23E6-4662-9FF9-BAD2CA9147F8}" type="pres">
      <dgm:prSet presAssocID="{7A844A7F-981A-4A30-9953-F2CEDDEF99FB}" presName="FiveNodes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2E7902A-60F5-429B-AC6C-456E63825A04}" type="pres">
      <dgm:prSet presAssocID="{7A844A7F-981A-4A30-9953-F2CEDDEF99FB}" presName="FiveConn_1-2" presStyleLbl="fg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167A335-BDBE-4053-8203-26C52B5EF674}" type="pres">
      <dgm:prSet presAssocID="{7A844A7F-981A-4A30-9953-F2CEDDEF99FB}" presName="FiveConn_2-3" presStyleLbl="fg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74F35FB-B1C9-44E7-AAAF-561AFD7793C1}" type="pres">
      <dgm:prSet presAssocID="{7A844A7F-981A-4A30-9953-F2CEDDEF99FB}" presName="FiveConn_3-4" presStyleLbl="fg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C3B86D8-0C4F-419E-AF4B-C9536176711F}" type="pres">
      <dgm:prSet presAssocID="{7A844A7F-981A-4A30-9953-F2CEDDEF99FB}" presName="FiveConn_4-5" presStyleLbl="fg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DD44EAB-0AD1-4874-9FE9-0E9D845E4EE6}" type="pres">
      <dgm:prSet presAssocID="{7A844A7F-981A-4A30-9953-F2CEDDEF99FB}" presName="FiveNodes_1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E2F7FE1-77D3-4302-A477-DDF59B01749C}" type="pres">
      <dgm:prSet presAssocID="{7A844A7F-981A-4A30-9953-F2CEDDEF99FB}" presName="FiveNodes_2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A8FC671-19A5-4357-8905-BA0860898D95}" type="pres">
      <dgm:prSet presAssocID="{7A844A7F-981A-4A30-9953-F2CEDDEF99FB}" presName="FiveNodes_3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FBBA4A0-38BF-40A9-ACDB-1958FE584668}" type="pres">
      <dgm:prSet presAssocID="{7A844A7F-981A-4A30-9953-F2CEDDEF99FB}" presName="FiveNodes_4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F616DFA-1623-4812-9DF3-7BB5E0F457DD}" type="pres">
      <dgm:prSet presAssocID="{7A844A7F-981A-4A30-9953-F2CEDDEF99FB}" presName="FiveNodes_5_text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12609A4-B461-4893-A985-5F68EF393D13}" srcId="{7A844A7F-981A-4A30-9953-F2CEDDEF99FB}" destId="{CC4A8144-12EA-42D4-9EE3-7DCA2BBF54C3}" srcOrd="4" destOrd="0" parTransId="{025560FD-FED0-4BC4-878E-5806C6C714B3}" sibTransId="{1483F42B-D9D4-45E5-B455-33F34EA7E00F}"/>
    <dgm:cxn modelId="{EC0DA66C-A858-4B91-9AE8-BF6F9BB612DA}" type="presOf" srcId="{41AFCEC9-3FC1-45AF-877A-41862036EE01}" destId="{9E2F7FE1-77D3-4302-A477-DDF59B01749C}" srcOrd="1" destOrd="0" presId="urn:microsoft.com/office/officeart/2005/8/layout/vProcess5"/>
    <dgm:cxn modelId="{B95D0585-A1D3-40CA-A6EF-33E37B5600A7}" type="presOf" srcId="{CC4A8144-12EA-42D4-9EE3-7DCA2BBF54C3}" destId="{DF616DFA-1623-4812-9DF3-7BB5E0F457DD}" srcOrd="1" destOrd="0" presId="urn:microsoft.com/office/officeart/2005/8/layout/vProcess5"/>
    <dgm:cxn modelId="{43280584-971F-45D7-BE7B-82FEEDDADFBE}" srcId="{7A844A7F-981A-4A30-9953-F2CEDDEF99FB}" destId="{2C5592CB-05C9-47F4-8EE6-A60BAAEE535E}" srcOrd="0" destOrd="0" parTransId="{404520F5-5F2D-46FE-8518-A1400517626F}" sibTransId="{7F4E683A-ACBB-4920-9EB6-839788C54AA5}"/>
    <dgm:cxn modelId="{DBA0386E-BE1F-4F0E-A661-A0C1CC0603B2}" type="presOf" srcId="{7A844A7F-981A-4A30-9953-F2CEDDEF99FB}" destId="{FF1E5585-819A-476D-92B1-0F1D1A212555}" srcOrd="0" destOrd="0" presId="urn:microsoft.com/office/officeart/2005/8/layout/vProcess5"/>
    <dgm:cxn modelId="{0A12469F-BA06-4B95-BA0F-2EE93651572F}" srcId="{7A844A7F-981A-4A30-9953-F2CEDDEF99FB}" destId="{63CAC319-1471-4269-96E1-A80824348A93}" srcOrd="3" destOrd="0" parTransId="{7C719DFF-5A91-49A3-813C-B97FFB1E34F6}" sibTransId="{C0FADB3B-DF82-4F27-AE32-D018AAB70018}"/>
    <dgm:cxn modelId="{2B97010C-4753-4997-9669-CBECA06881D1}" type="presOf" srcId="{63CAC319-1471-4269-96E1-A80824348A93}" destId="{4FBBA4A0-38BF-40A9-ACDB-1958FE584668}" srcOrd="1" destOrd="0" presId="urn:microsoft.com/office/officeart/2005/8/layout/vProcess5"/>
    <dgm:cxn modelId="{F1D6F749-A3E3-4BD3-ADE2-D5891DD64042}" type="presOf" srcId="{5BE4BBF8-2993-4B04-9E6D-6939C1401EEE}" destId="{0A8FC671-19A5-4357-8905-BA0860898D95}" srcOrd="1" destOrd="0" presId="urn:microsoft.com/office/officeart/2005/8/layout/vProcess5"/>
    <dgm:cxn modelId="{6C267ECC-1835-457C-8853-3CF00D6C11A5}" type="presOf" srcId="{7F4E683A-ACBB-4920-9EB6-839788C54AA5}" destId="{82E7902A-60F5-429B-AC6C-456E63825A04}" srcOrd="0" destOrd="0" presId="urn:microsoft.com/office/officeart/2005/8/layout/vProcess5"/>
    <dgm:cxn modelId="{63C1D5CE-711C-49E4-B595-D3A82AD52732}" type="presOf" srcId="{A3B51C50-7209-4E49-B816-EAFA9DF37683}" destId="{8167A335-BDBE-4053-8203-26C52B5EF674}" srcOrd="0" destOrd="0" presId="urn:microsoft.com/office/officeart/2005/8/layout/vProcess5"/>
    <dgm:cxn modelId="{935097BB-FD1A-4283-8F7F-405E4252818F}" type="presOf" srcId="{41AFCEC9-3FC1-45AF-877A-41862036EE01}" destId="{085FFDAC-3FE4-41DB-90DC-0C822155528E}" srcOrd="0" destOrd="0" presId="urn:microsoft.com/office/officeart/2005/8/layout/vProcess5"/>
    <dgm:cxn modelId="{E6D5041C-FA9E-4D94-B9E8-5E9F4584E4B4}" srcId="{7A844A7F-981A-4A30-9953-F2CEDDEF99FB}" destId="{AB87152E-4BEF-4D7C-AABC-81EC9EB54197}" srcOrd="5" destOrd="0" parTransId="{D06A49BE-8C3A-4126-A489-3D30A482C693}" sibTransId="{E2F0951C-B6E2-4A22-9EDD-D46F1ED47408}"/>
    <dgm:cxn modelId="{F5BC9DFF-7FEF-4F93-89E4-C0F71E9AE1C6}" type="presOf" srcId="{2C5592CB-05C9-47F4-8EE6-A60BAAEE535E}" destId="{8DD44EAB-0AD1-4874-9FE9-0E9D845E4EE6}" srcOrd="1" destOrd="0" presId="urn:microsoft.com/office/officeart/2005/8/layout/vProcess5"/>
    <dgm:cxn modelId="{AD0F66DB-AD14-407F-9E25-8C12E94DCCCB}" type="presOf" srcId="{C0FADB3B-DF82-4F27-AE32-D018AAB70018}" destId="{2C3B86D8-0C4F-419E-AF4B-C9536176711F}" srcOrd="0" destOrd="0" presId="urn:microsoft.com/office/officeart/2005/8/layout/vProcess5"/>
    <dgm:cxn modelId="{21F85F58-8843-4641-A4C5-F761064B3F60}" srcId="{7A844A7F-981A-4A30-9953-F2CEDDEF99FB}" destId="{41AFCEC9-3FC1-45AF-877A-41862036EE01}" srcOrd="1" destOrd="0" parTransId="{A68219B4-FDF9-4A90-98F1-CD7E14C848AF}" sibTransId="{A3B51C50-7209-4E49-B816-EAFA9DF37683}"/>
    <dgm:cxn modelId="{CC77F6D3-52CB-48B4-BEC1-3B3AF96614FB}" srcId="{7A844A7F-981A-4A30-9953-F2CEDDEF99FB}" destId="{5BE4BBF8-2993-4B04-9E6D-6939C1401EEE}" srcOrd="2" destOrd="0" parTransId="{97145FB8-07EA-4ABF-9B4E-DFEB701C15BA}" sibTransId="{2849D00F-BABB-4C9B-AA1B-3834F9FEDF21}"/>
    <dgm:cxn modelId="{0150D1B1-F86B-4EB3-B407-21A6501B7AB1}" type="presOf" srcId="{5BE4BBF8-2993-4B04-9E6D-6939C1401EEE}" destId="{7237472D-84AF-4882-B026-549CB5821C04}" srcOrd="0" destOrd="0" presId="urn:microsoft.com/office/officeart/2005/8/layout/vProcess5"/>
    <dgm:cxn modelId="{9BCF193E-291B-41E4-B6CF-961B519A8956}" type="presOf" srcId="{2849D00F-BABB-4C9B-AA1B-3834F9FEDF21}" destId="{574F35FB-B1C9-44E7-AAAF-561AFD7793C1}" srcOrd="0" destOrd="0" presId="urn:microsoft.com/office/officeart/2005/8/layout/vProcess5"/>
    <dgm:cxn modelId="{4A9E8D93-7105-48E1-8EEE-EF17E6E8F143}" type="presOf" srcId="{2C5592CB-05C9-47F4-8EE6-A60BAAEE535E}" destId="{9EBDF5FA-2175-44B7-99FE-27D92C3754AE}" srcOrd="0" destOrd="0" presId="urn:microsoft.com/office/officeart/2005/8/layout/vProcess5"/>
    <dgm:cxn modelId="{736B0546-E51C-4713-814F-10EB025BB4A9}" type="presOf" srcId="{CC4A8144-12EA-42D4-9EE3-7DCA2BBF54C3}" destId="{D937BCB4-23E6-4662-9FF9-BAD2CA9147F8}" srcOrd="0" destOrd="0" presId="urn:microsoft.com/office/officeart/2005/8/layout/vProcess5"/>
    <dgm:cxn modelId="{60828701-B514-4753-9AD6-3E258B10A6E2}" type="presOf" srcId="{63CAC319-1471-4269-96E1-A80824348A93}" destId="{193276E1-B70D-4099-A5BA-B4299B1BF9AB}" srcOrd="0" destOrd="0" presId="urn:microsoft.com/office/officeart/2005/8/layout/vProcess5"/>
    <dgm:cxn modelId="{240A485C-24FE-4FCF-85F6-4658D5A7E89F}" type="presParOf" srcId="{FF1E5585-819A-476D-92B1-0F1D1A212555}" destId="{B1ACB602-2238-4062-82ED-4DF83ED03511}" srcOrd="0" destOrd="0" presId="urn:microsoft.com/office/officeart/2005/8/layout/vProcess5"/>
    <dgm:cxn modelId="{5E7D4A7A-0488-4057-8A26-B8C953782B40}" type="presParOf" srcId="{FF1E5585-819A-476D-92B1-0F1D1A212555}" destId="{9EBDF5FA-2175-44B7-99FE-27D92C3754AE}" srcOrd="1" destOrd="0" presId="urn:microsoft.com/office/officeart/2005/8/layout/vProcess5"/>
    <dgm:cxn modelId="{698AE50D-B523-41CE-AAA6-EB4312E2C55C}" type="presParOf" srcId="{FF1E5585-819A-476D-92B1-0F1D1A212555}" destId="{085FFDAC-3FE4-41DB-90DC-0C822155528E}" srcOrd="2" destOrd="0" presId="urn:microsoft.com/office/officeart/2005/8/layout/vProcess5"/>
    <dgm:cxn modelId="{13790FBE-4DDE-4CC2-9442-506A7510D5CF}" type="presParOf" srcId="{FF1E5585-819A-476D-92B1-0F1D1A212555}" destId="{7237472D-84AF-4882-B026-549CB5821C04}" srcOrd="3" destOrd="0" presId="urn:microsoft.com/office/officeart/2005/8/layout/vProcess5"/>
    <dgm:cxn modelId="{EE58C95C-9045-4662-AFCE-166BACBE861E}" type="presParOf" srcId="{FF1E5585-819A-476D-92B1-0F1D1A212555}" destId="{193276E1-B70D-4099-A5BA-B4299B1BF9AB}" srcOrd="4" destOrd="0" presId="urn:microsoft.com/office/officeart/2005/8/layout/vProcess5"/>
    <dgm:cxn modelId="{946660E9-8651-41FB-93AF-52855D388E18}" type="presParOf" srcId="{FF1E5585-819A-476D-92B1-0F1D1A212555}" destId="{D937BCB4-23E6-4662-9FF9-BAD2CA9147F8}" srcOrd="5" destOrd="0" presId="urn:microsoft.com/office/officeart/2005/8/layout/vProcess5"/>
    <dgm:cxn modelId="{BCEB1257-B30A-48F4-BC59-F31CE3B81083}" type="presParOf" srcId="{FF1E5585-819A-476D-92B1-0F1D1A212555}" destId="{82E7902A-60F5-429B-AC6C-456E63825A04}" srcOrd="6" destOrd="0" presId="urn:microsoft.com/office/officeart/2005/8/layout/vProcess5"/>
    <dgm:cxn modelId="{A83B4EE6-D0C0-40F2-9A6A-E1CEF002219B}" type="presParOf" srcId="{FF1E5585-819A-476D-92B1-0F1D1A212555}" destId="{8167A335-BDBE-4053-8203-26C52B5EF674}" srcOrd="7" destOrd="0" presId="urn:microsoft.com/office/officeart/2005/8/layout/vProcess5"/>
    <dgm:cxn modelId="{0F6DC16C-892F-4010-BE74-AB95E5A938A7}" type="presParOf" srcId="{FF1E5585-819A-476D-92B1-0F1D1A212555}" destId="{574F35FB-B1C9-44E7-AAAF-561AFD7793C1}" srcOrd="8" destOrd="0" presId="urn:microsoft.com/office/officeart/2005/8/layout/vProcess5"/>
    <dgm:cxn modelId="{6F501BAE-08BD-4C2E-BB02-C6CF0835B9E0}" type="presParOf" srcId="{FF1E5585-819A-476D-92B1-0F1D1A212555}" destId="{2C3B86D8-0C4F-419E-AF4B-C9536176711F}" srcOrd="9" destOrd="0" presId="urn:microsoft.com/office/officeart/2005/8/layout/vProcess5"/>
    <dgm:cxn modelId="{0BA10CC1-FB97-44AD-A071-AEE6573612BC}" type="presParOf" srcId="{FF1E5585-819A-476D-92B1-0F1D1A212555}" destId="{8DD44EAB-0AD1-4874-9FE9-0E9D845E4EE6}" srcOrd="10" destOrd="0" presId="urn:microsoft.com/office/officeart/2005/8/layout/vProcess5"/>
    <dgm:cxn modelId="{41E3F191-EA27-4619-913E-19C6570F54CC}" type="presParOf" srcId="{FF1E5585-819A-476D-92B1-0F1D1A212555}" destId="{9E2F7FE1-77D3-4302-A477-DDF59B01749C}" srcOrd="11" destOrd="0" presId="urn:microsoft.com/office/officeart/2005/8/layout/vProcess5"/>
    <dgm:cxn modelId="{507481B6-34C5-4D90-AB77-0620709E717D}" type="presParOf" srcId="{FF1E5585-819A-476D-92B1-0F1D1A212555}" destId="{0A8FC671-19A5-4357-8905-BA0860898D95}" srcOrd="12" destOrd="0" presId="urn:microsoft.com/office/officeart/2005/8/layout/vProcess5"/>
    <dgm:cxn modelId="{02D43E08-4360-43F6-A0B2-8E42FA8F7325}" type="presParOf" srcId="{FF1E5585-819A-476D-92B1-0F1D1A212555}" destId="{4FBBA4A0-38BF-40A9-ACDB-1958FE584668}" srcOrd="13" destOrd="0" presId="urn:microsoft.com/office/officeart/2005/8/layout/vProcess5"/>
    <dgm:cxn modelId="{7AC57907-C7DE-4E7C-9A09-4521F036EF8C}" type="presParOf" srcId="{FF1E5585-819A-476D-92B1-0F1D1A212555}" destId="{DF616DFA-1623-4812-9DF3-7BB5E0F457DD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EBDF5FA-2175-44B7-99FE-27D92C3754AE}">
      <dsp:nvSpPr>
        <dsp:cNvPr id="0" name=""/>
        <dsp:cNvSpPr/>
      </dsp:nvSpPr>
      <dsp:spPr>
        <a:xfrm>
          <a:off x="0" y="0"/>
          <a:ext cx="6766492" cy="96012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tile tx="0" ty="0" sx="100000" sy="100000" flip="none" algn="tl"/>
        </a:blipFill>
        <a:ln w="15875" cmpd="sng">
          <a:solidFill>
            <a:schemeClr val="tx2">
              <a:lumMod val="95000"/>
              <a:lumOff val="5000"/>
            </a:schemeClr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rgbClr val="000099"/>
              </a:solidFill>
              <a:latin typeface="Bookman Old Style" pitchFamily="18" charset="0"/>
            </a:rPr>
            <a:t>1) Assets created by Credit </a:t>
          </a:r>
          <a:endParaRPr lang="en-US" sz="2400" b="1" kern="1200" dirty="0">
            <a:solidFill>
              <a:srgbClr val="000099"/>
            </a:solidFill>
            <a:latin typeface="Bookman Old Style" pitchFamily="18" charset="0"/>
          </a:endParaRPr>
        </a:p>
      </dsp:txBody>
      <dsp:txXfrm>
        <a:off x="28121" y="28121"/>
        <a:ext cx="5618114" cy="903878"/>
      </dsp:txXfrm>
    </dsp:sp>
    <dsp:sp modelId="{085FFDAC-3FE4-41DB-90DC-0C822155528E}">
      <dsp:nvSpPr>
        <dsp:cNvPr id="0" name=""/>
        <dsp:cNvSpPr/>
      </dsp:nvSpPr>
      <dsp:spPr>
        <a:xfrm>
          <a:off x="505290" y="1093470"/>
          <a:ext cx="6766492" cy="96012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tile tx="0" ty="0" sx="100000" sy="100000" flip="none" algn="tl"/>
        </a:blipFill>
        <a:ln w="15875" cmpd="sng">
          <a:solidFill>
            <a:schemeClr val="tx2">
              <a:lumMod val="95000"/>
              <a:lumOff val="5000"/>
            </a:schemeClr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rgbClr val="000099"/>
              </a:solidFill>
              <a:latin typeface="Bookman Old Style" pitchFamily="18" charset="0"/>
            </a:rPr>
            <a:t>2) Collaterals &amp; Security </a:t>
          </a:r>
          <a:endParaRPr lang="en-US" sz="2400" b="1" kern="1200" dirty="0">
            <a:solidFill>
              <a:srgbClr val="000099"/>
            </a:solidFill>
            <a:latin typeface="Bookman Old Style" pitchFamily="18" charset="0"/>
          </a:endParaRPr>
        </a:p>
      </dsp:txBody>
      <dsp:txXfrm>
        <a:off x="533411" y="1121591"/>
        <a:ext cx="5580882" cy="903878"/>
      </dsp:txXfrm>
    </dsp:sp>
    <dsp:sp modelId="{7237472D-84AF-4882-B026-549CB5821C04}">
      <dsp:nvSpPr>
        <dsp:cNvPr id="0" name=""/>
        <dsp:cNvSpPr/>
      </dsp:nvSpPr>
      <dsp:spPr>
        <a:xfrm>
          <a:off x="1010580" y="2186939"/>
          <a:ext cx="6766492" cy="96012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tile tx="0" ty="0" sx="100000" sy="100000" flip="none" algn="tl"/>
        </a:blipFill>
        <a:ln w="15875" cmpd="sng">
          <a:solidFill>
            <a:schemeClr val="tx2">
              <a:lumMod val="95000"/>
              <a:lumOff val="5000"/>
            </a:schemeClr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rgbClr val="000099"/>
              </a:solidFill>
              <a:latin typeface="Bookman Old Style" pitchFamily="18" charset="0"/>
            </a:rPr>
            <a:t>3) </a:t>
          </a:r>
          <a:r>
            <a:rPr lang="en-US" sz="2400" b="1" kern="1200" dirty="0" err="1" smtClean="0">
              <a:solidFill>
                <a:srgbClr val="000099"/>
              </a:solidFill>
              <a:latin typeface="Bookman Old Style" pitchFamily="18" charset="0"/>
            </a:rPr>
            <a:t>Loanees</a:t>
          </a:r>
          <a:r>
            <a:rPr lang="en-US" sz="2400" b="1" kern="1200" dirty="0" smtClean="0">
              <a:solidFill>
                <a:srgbClr val="000099"/>
              </a:solidFill>
              <a:latin typeface="Bookman Old Style" pitchFamily="18" charset="0"/>
            </a:rPr>
            <a:t>, Credit/ debit/ </a:t>
          </a:r>
          <a:r>
            <a:rPr lang="en-US" sz="2400" b="1" kern="1200" dirty="0" err="1" smtClean="0">
              <a:solidFill>
                <a:srgbClr val="000099"/>
              </a:solidFill>
              <a:latin typeface="Bookman Old Style" pitchFamily="18" charset="0"/>
            </a:rPr>
            <a:t>Kisan</a:t>
          </a:r>
          <a:r>
            <a:rPr lang="en-US" sz="2400" b="1" kern="1200" dirty="0" smtClean="0">
              <a:solidFill>
                <a:srgbClr val="000099"/>
              </a:solidFill>
              <a:latin typeface="Bookman Old Style" pitchFamily="18" charset="0"/>
            </a:rPr>
            <a:t> Card holders , Account holders </a:t>
          </a:r>
          <a:endParaRPr lang="en-US" sz="2400" b="1" kern="1200" dirty="0">
            <a:solidFill>
              <a:srgbClr val="000099"/>
            </a:solidFill>
            <a:latin typeface="Bookman Old Style" pitchFamily="18" charset="0"/>
          </a:endParaRPr>
        </a:p>
      </dsp:txBody>
      <dsp:txXfrm>
        <a:off x="1038701" y="2215060"/>
        <a:ext cx="5580882" cy="903877"/>
      </dsp:txXfrm>
    </dsp:sp>
    <dsp:sp modelId="{193276E1-B70D-4099-A5BA-B4299B1BF9AB}">
      <dsp:nvSpPr>
        <dsp:cNvPr id="0" name=""/>
        <dsp:cNvSpPr/>
      </dsp:nvSpPr>
      <dsp:spPr>
        <a:xfrm>
          <a:off x="1427635" y="3276598"/>
          <a:ext cx="6766492" cy="96012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tile tx="0" ty="0" sx="100000" sy="100000" flip="none" algn="tl"/>
        </a:blipFill>
        <a:ln w="15875" cmpd="sng">
          <a:solidFill>
            <a:schemeClr val="tx2">
              <a:lumMod val="95000"/>
              <a:lumOff val="5000"/>
            </a:schemeClr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rgbClr val="000099"/>
              </a:solidFill>
              <a:latin typeface="Bookman Old Style" pitchFamily="18" charset="0"/>
            </a:rPr>
            <a:t>4) Other assets of the Credit customers  and new Customers , Cross selling </a:t>
          </a:r>
          <a:endParaRPr lang="en-US" sz="2400" b="1" kern="1200" dirty="0">
            <a:solidFill>
              <a:srgbClr val="000099"/>
            </a:solidFill>
            <a:latin typeface="Bookman Old Style" pitchFamily="18" charset="0"/>
          </a:endParaRPr>
        </a:p>
      </dsp:txBody>
      <dsp:txXfrm>
        <a:off x="1455756" y="3304719"/>
        <a:ext cx="5580882" cy="903878"/>
      </dsp:txXfrm>
    </dsp:sp>
    <dsp:sp modelId="{D937BCB4-23E6-4662-9FF9-BAD2CA9147F8}">
      <dsp:nvSpPr>
        <dsp:cNvPr id="0" name=""/>
        <dsp:cNvSpPr/>
      </dsp:nvSpPr>
      <dsp:spPr>
        <a:xfrm>
          <a:off x="2021160" y="4373879"/>
          <a:ext cx="6766492" cy="960120"/>
        </a:xfrm>
        <a:prstGeom prst="roundRect">
          <a:avLst>
            <a:gd name="adj" fmla="val 10000"/>
          </a:avLst>
        </a:prstGeom>
        <a:blipFill rotWithShape="0">
          <a:blip xmlns:r="http://schemas.openxmlformats.org/officeDocument/2006/relationships" r:embed="rId1"/>
          <a:tile tx="0" ty="0" sx="100000" sy="100000" flip="none" algn="tl"/>
        </a:blipFill>
        <a:ln w="15875" cmpd="sng">
          <a:solidFill>
            <a:schemeClr val="tx2">
              <a:lumMod val="95000"/>
              <a:lumOff val="5000"/>
            </a:schemeClr>
          </a:solidFill>
        </a:ln>
        <a:effectLst>
          <a:innerShdw blurRad="63500" dist="50800" dir="2700000">
            <a:prstClr val="black">
              <a:alpha val="50000"/>
            </a:prstClr>
          </a:inn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rgbClr val="000099"/>
              </a:solidFill>
              <a:latin typeface="Bookman Old Style" pitchFamily="18" charset="0"/>
            </a:rPr>
            <a:t>5) Data Base Exchange </a:t>
          </a:r>
          <a:endParaRPr lang="en-US" sz="2400" b="1" kern="1200" dirty="0">
            <a:solidFill>
              <a:srgbClr val="000099"/>
            </a:solidFill>
            <a:latin typeface="Bookman Old Style" pitchFamily="18" charset="0"/>
          </a:endParaRPr>
        </a:p>
      </dsp:txBody>
      <dsp:txXfrm>
        <a:off x="2049281" y="4402000"/>
        <a:ext cx="5580882" cy="903878"/>
      </dsp:txXfrm>
    </dsp:sp>
    <dsp:sp modelId="{82E7902A-60F5-429B-AC6C-456E63825A04}">
      <dsp:nvSpPr>
        <dsp:cNvPr id="0" name=""/>
        <dsp:cNvSpPr/>
      </dsp:nvSpPr>
      <dsp:spPr>
        <a:xfrm>
          <a:off x="6142414" y="701421"/>
          <a:ext cx="624078" cy="624078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830" tIns="36830" rIns="36830" bIns="3683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900" kern="1200"/>
        </a:p>
      </dsp:txBody>
      <dsp:txXfrm>
        <a:off x="6282832" y="701421"/>
        <a:ext cx="343242" cy="469619"/>
      </dsp:txXfrm>
    </dsp:sp>
    <dsp:sp modelId="{8167A335-BDBE-4053-8203-26C52B5EF674}">
      <dsp:nvSpPr>
        <dsp:cNvPr id="0" name=""/>
        <dsp:cNvSpPr/>
      </dsp:nvSpPr>
      <dsp:spPr>
        <a:xfrm>
          <a:off x="6647704" y="1794891"/>
          <a:ext cx="624078" cy="624078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830" tIns="36830" rIns="36830" bIns="3683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900" kern="1200"/>
        </a:p>
      </dsp:txBody>
      <dsp:txXfrm>
        <a:off x="6788122" y="1794891"/>
        <a:ext cx="343242" cy="469619"/>
      </dsp:txXfrm>
    </dsp:sp>
    <dsp:sp modelId="{574F35FB-B1C9-44E7-AAAF-561AFD7793C1}">
      <dsp:nvSpPr>
        <dsp:cNvPr id="0" name=""/>
        <dsp:cNvSpPr/>
      </dsp:nvSpPr>
      <dsp:spPr>
        <a:xfrm>
          <a:off x="7152994" y="2872359"/>
          <a:ext cx="624078" cy="624078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830" tIns="36830" rIns="36830" bIns="3683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900" kern="1200"/>
        </a:p>
      </dsp:txBody>
      <dsp:txXfrm>
        <a:off x="7293412" y="2872359"/>
        <a:ext cx="343242" cy="469619"/>
      </dsp:txXfrm>
    </dsp:sp>
    <dsp:sp modelId="{2C3B86D8-0C4F-419E-AF4B-C9536176711F}">
      <dsp:nvSpPr>
        <dsp:cNvPr id="0" name=""/>
        <dsp:cNvSpPr/>
      </dsp:nvSpPr>
      <dsp:spPr>
        <a:xfrm>
          <a:off x="7658284" y="3976497"/>
          <a:ext cx="624078" cy="624078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152400" extrusionH="63500" prstMaterial="dkEdge">
          <a:bevelT w="125400" h="36350" prst="relaxedInset"/>
          <a:contourClr>
            <a:schemeClr val="bg1"/>
          </a:contourClr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6830" tIns="36830" rIns="36830" bIns="36830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2900" kern="1200"/>
        </a:p>
      </dsp:txBody>
      <dsp:txXfrm>
        <a:off x="7798702" y="3976497"/>
        <a:ext cx="343242" cy="46961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charset="0"/>
                <a:cs typeface="Times New Roman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993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charset="0"/>
                <a:cs typeface="Times New Roman" charset="0"/>
              </a:defRPr>
            </a:lvl1pPr>
          </a:lstStyle>
          <a:p>
            <a:pPr>
              <a:defRPr/>
            </a:pPr>
            <a:fld id="{064ECF17-5498-4759-8E2E-DF5AE571982E}" type="datetimeFigureOut">
              <a:rPr lang="en-GB"/>
              <a:pPr>
                <a:defRPr/>
              </a:pPr>
              <a:t>01/07/2012</a:t>
            </a:fld>
            <a:endParaRPr lang="en-GB"/>
          </a:p>
        </p:txBody>
      </p:sp>
      <p:sp>
        <p:nvSpPr>
          <p:cNvPr id="3994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Times New Roman" charset="0"/>
                <a:cs typeface="Times New Roman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994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Times New Roman" charset="0"/>
                <a:cs typeface="Times New Roman" charset="0"/>
              </a:defRPr>
            </a:lvl1pPr>
          </a:lstStyle>
          <a:p>
            <a:pPr>
              <a:defRPr/>
            </a:pPr>
            <a:fld id="{890416E7-D540-4A72-B1CF-50BAA8B31CD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19574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A42E77-B38D-484A-9A35-7627EA399AF2}" type="datetimeFigureOut">
              <a:rPr lang="en-US" smtClean="0"/>
              <a:pPr/>
              <a:t>7/1/201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09F729-361A-4624-88D7-7D7EDCF00AF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5253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9F729-361A-4624-88D7-7D7EDCF00AF2}" type="slidenum">
              <a:rPr lang="en-US" smtClean="0"/>
              <a:pPr/>
              <a:t>1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D24DFE-DF96-4C64-8FF6-D9C6B5C9D2E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A574D1-F72A-46F3-AFE8-16207264D91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0FF1A9-70B3-4873-8A44-757FDEFC32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38493B8-2990-4EC4-9BB0-DEE953C722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6B6FE57-1F7B-4E0F-AAFB-267A56E1A4E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9D5853-EC38-49F9-8DFC-FA4923E2F33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50B829-9FA2-478C-AAAC-C96A9D0AAB6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1D4F13-5C2D-4187-9E7B-F9CA1A3A4A7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3D0223-E368-4CA2-BAA1-1D225BC191A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F5AE58-8E27-4A3C-ACBB-200E72FFE7B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847537-2B5D-405C-91CB-DA10A8A3A9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22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Times New Roman" pitchFamily="18" charset="0"/>
                <a:cs typeface="Times New Roman" pitchFamily="18" charset="0"/>
              </a:defRPr>
            </a:lvl1pPr>
          </a:lstStyle>
          <a:p>
            <a:pPr>
              <a:defRPr/>
            </a:pPr>
            <a:fld id="{070931B1-EB61-468D-A5DB-9B076548742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Times New Roman" pitchFamily="18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Times New Roman" pitchFamily="18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Times New Roman" pitchFamily="18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Times New Roman" pitchFamily="18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 New Roman" pitchFamily="18" charset="0"/>
          <a:cs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jpeg"/><Relationship Id="rId9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5" Type="http://schemas.openxmlformats.org/officeDocument/2006/relationships/image" Target="../media/image11.png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4" Type="http://schemas.openxmlformats.org/officeDocument/2006/relationships/image" Target="../media/image5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4.jpeg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5.jpeg"/><Relationship Id="rId9" Type="http://schemas.microsoft.com/office/2007/relationships/diagramDrawing" Target="../diagrams/drawing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Relationship Id="rId4" Type="http://schemas.openxmlformats.org/officeDocument/2006/relationships/image" Target="../media/image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17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image" Target="../media/image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8.xml"/><Relationship Id="rId4" Type="http://schemas.openxmlformats.org/officeDocument/2006/relationships/image" Target="../media/image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C:\Documents and Settings\admin\Desktop\SanathKumar\Pictures\newindia-logo-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1"/>
            <a:ext cx="9126070" cy="2057399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1" y="2169616"/>
            <a:ext cx="4992484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400" b="1" dirty="0" smtClean="0">
                <a:latin typeface="Bookman Old Style" pitchFamily="18" charset="0"/>
              </a:rPr>
              <a:t>Greetings</a:t>
            </a:r>
          </a:p>
          <a:p>
            <a:pPr algn="ctr"/>
            <a:r>
              <a:rPr lang="en-US" sz="4400" b="1" dirty="0" smtClean="0">
                <a:latin typeface="Bookman Old Style" pitchFamily="18" charset="0"/>
              </a:rPr>
              <a:t>To </a:t>
            </a:r>
          </a:p>
          <a:p>
            <a:pPr algn="ctr"/>
            <a:r>
              <a:rPr lang="en-US" sz="4400" b="1" dirty="0" smtClean="0">
                <a:latin typeface="Bookman Old Style" pitchFamily="18" charset="0"/>
              </a:rPr>
              <a:t>Delegates</a:t>
            </a:r>
          </a:p>
          <a:p>
            <a:pPr algn="ctr"/>
            <a:endParaRPr lang="en-US" sz="4400" b="1" dirty="0" smtClean="0">
              <a:latin typeface="Bookman Old Style" pitchFamily="18" charset="0"/>
            </a:endParaRPr>
          </a:p>
          <a:p>
            <a:pPr algn="ctr"/>
            <a:r>
              <a:rPr lang="en-US" sz="4400" b="1" dirty="0" smtClean="0">
                <a:latin typeface="Bookman Old Style" pitchFamily="18" charset="0"/>
              </a:rPr>
              <a:t>“</a:t>
            </a:r>
            <a:r>
              <a:rPr lang="en-US" sz="4400" b="1" dirty="0" err="1" smtClean="0">
                <a:latin typeface="Bookman Old Style" pitchFamily="18" charset="0"/>
              </a:rPr>
              <a:t>Bancassurance</a:t>
            </a:r>
            <a:r>
              <a:rPr lang="en-US" sz="4400" b="1" dirty="0" smtClean="0">
                <a:latin typeface="Bookman Old Style" pitchFamily="18" charset="0"/>
              </a:rPr>
              <a:t> </a:t>
            </a:r>
          </a:p>
          <a:p>
            <a:pPr algn="ctr"/>
            <a:r>
              <a:rPr lang="en-US" sz="4400" b="1" dirty="0" smtClean="0">
                <a:latin typeface="Bookman Old Style" pitchFamily="18" charset="0"/>
              </a:rPr>
              <a:t>&amp; Beyond”</a:t>
            </a:r>
          </a:p>
          <a:p>
            <a:pPr algn="ctr"/>
            <a:endParaRPr lang="en-US" sz="4400" b="1" dirty="0" smtClean="0">
              <a:latin typeface="Garamond" pitchFamily="18" charset="0"/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8946" y="1295400"/>
            <a:ext cx="1666875" cy="22411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7219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2485" y="3536576"/>
            <a:ext cx="4079798" cy="33214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logo"/>
          <p:cNvPicPr>
            <a:picLocks noChangeAspect="1" noChangeArrowheads="1"/>
          </p:cNvPicPr>
          <p:nvPr/>
        </p:nvPicPr>
        <p:blipFill>
          <a:blip r:embed="rId3" cstate="print"/>
          <a:srcRect l="46928" t="3845" r="6087" b="89449"/>
          <a:stretch>
            <a:fillRect/>
          </a:stretch>
        </p:blipFill>
        <p:spPr bwMode="auto">
          <a:xfrm>
            <a:off x="5271247" y="6141664"/>
            <a:ext cx="3886200" cy="666750"/>
          </a:xfrm>
          <a:prstGeom prst="rect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sp>
        <p:nvSpPr>
          <p:cNvPr id="3078" name="Line 6"/>
          <p:cNvSpPr>
            <a:spLocks noChangeShapeType="1"/>
          </p:cNvSpPr>
          <p:nvPr/>
        </p:nvSpPr>
        <p:spPr bwMode="auto">
          <a:xfrm>
            <a:off x="13447" y="6122614"/>
            <a:ext cx="9144000" cy="0"/>
          </a:xfrm>
          <a:prstGeom prst="line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pic>
        <p:nvPicPr>
          <p:cNvPr id="9" name="Picture 2" descr="http://4.bp.blogspot.com/_M9ckjS8Bq4Y/S_tFrxBLP4I/AAAAAAAADI4/gOGLDs18AG0/s400/New+India+Assurance+Co+Ltd+Logo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447" y="6121027"/>
            <a:ext cx="685800" cy="682625"/>
          </a:xfrm>
          <a:prstGeom prst="rect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-1" y="19999"/>
            <a:ext cx="9157447" cy="1169551"/>
          </a:xfrm>
          <a:prstGeom prst="rect">
            <a:avLst/>
          </a:prstGeom>
          <a:solidFill>
            <a:schemeClr val="accent2"/>
          </a:solidFill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800" b="1" dirty="0" err="1" smtClean="0">
                <a:solidFill>
                  <a:srgbClr val="FFFF00"/>
                </a:solidFill>
                <a:latin typeface="Bookman Old Style" pitchFamily="18" charset="0"/>
              </a:rPr>
              <a:t>Bancassurance</a:t>
            </a:r>
            <a:r>
              <a:rPr lang="en-US" sz="2800" b="1" dirty="0" smtClean="0">
                <a:solidFill>
                  <a:srgbClr val="FFFF00"/>
                </a:solidFill>
                <a:latin typeface="Bookman Old Style" pitchFamily="18" charset="0"/>
              </a:rPr>
              <a:t> – ( Non Life)  </a:t>
            </a:r>
          </a:p>
          <a:p>
            <a:pPr>
              <a:spcBef>
                <a:spcPct val="50000"/>
              </a:spcBef>
            </a:pPr>
            <a:r>
              <a:rPr lang="en-US" sz="2800" b="1" dirty="0" smtClean="0">
                <a:solidFill>
                  <a:srgbClr val="FFFF00"/>
                </a:solidFill>
                <a:latin typeface="Bookman Old Style" pitchFamily="18" charset="0"/>
              </a:rPr>
              <a:t>Synergy Or Conflict  ????</a:t>
            </a:r>
            <a:endParaRPr lang="en-GB" sz="3200" dirty="0">
              <a:solidFill>
                <a:srgbClr val="0033CC"/>
              </a:solidFill>
            </a:endParaRPr>
          </a:p>
        </p:txBody>
      </p:sp>
      <p:sp>
        <p:nvSpPr>
          <p:cNvPr id="8" name="Text Box 7"/>
          <p:cNvSpPr txBox="1">
            <a:spLocks noChangeArrowheads="1"/>
          </p:cNvSpPr>
          <p:nvPr/>
        </p:nvSpPr>
        <p:spPr bwMode="auto">
          <a:xfrm>
            <a:off x="2909046" y="5727927"/>
            <a:ext cx="6248401" cy="369332"/>
          </a:xfrm>
          <a:prstGeom prst="rect">
            <a:avLst/>
          </a:prstGeom>
          <a:solidFill>
            <a:schemeClr val="accent2"/>
          </a:solidFill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800" b="1" dirty="0" smtClean="0">
                <a:solidFill>
                  <a:srgbClr val="FFFF00"/>
                </a:solidFill>
                <a:latin typeface="Bookman Old Style" pitchFamily="18" charset="0"/>
              </a:rPr>
              <a:t>K </a:t>
            </a:r>
            <a:r>
              <a:rPr lang="en-US" sz="1800" b="1" dirty="0" err="1" smtClean="0">
                <a:solidFill>
                  <a:srgbClr val="FFFF00"/>
                </a:solidFill>
                <a:latin typeface="Bookman Old Style" pitchFamily="18" charset="0"/>
              </a:rPr>
              <a:t>Sanath</a:t>
            </a:r>
            <a:r>
              <a:rPr lang="en-US" sz="1800" b="1" dirty="0" smtClean="0">
                <a:solidFill>
                  <a:srgbClr val="FFFF00"/>
                </a:solidFill>
                <a:latin typeface="Bookman Old Style" pitchFamily="18" charset="0"/>
              </a:rPr>
              <a:t> Kumar , GM,  New India Assurance</a:t>
            </a:r>
            <a:endParaRPr lang="en-GB" sz="2000" dirty="0">
              <a:solidFill>
                <a:srgbClr val="0033CC"/>
              </a:solidFill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1905000" cy="1905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8243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5000" y="2285999"/>
            <a:ext cx="1447800" cy="187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8244" name="Picture 4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2800" y="2286000"/>
            <a:ext cx="1971406" cy="19769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8246" name="Picture 6" descr="http://topnews.in/files/SBI-logo_5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83718" y="2268266"/>
            <a:ext cx="1550482" cy="1771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8247" name="Picture 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00" y="2286000"/>
            <a:ext cx="2131594" cy="1753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34627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logo"/>
          <p:cNvPicPr>
            <a:picLocks noChangeAspect="1" noChangeArrowheads="1"/>
          </p:cNvPicPr>
          <p:nvPr/>
        </p:nvPicPr>
        <p:blipFill>
          <a:blip r:embed="rId3" cstate="print"/>
          <a:srcRect l="46928" t="3845" r="6087" b="89449"/>
          <a:stretch>
            <a:fillRect/>
          </a:stretch>
        </p:blipFill>
        <p:spPr bwMode="auto">
          <a:xfrm>
            <a:off x="5271247" y="6141664"/>
            <a:ext cx="3886200" cy="666750"/>
          </a:xfrm>
          <a:prstGeom prst="rect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sp>
        <p:nvSpPr>
          <p:cNvPr id="3078" name="Line 6"/>
          <p:cNvSpPr>
            <a:spLocks noChangeShapeType="1"/>
          </p:cNvSpPr>
          <p:nvPr/>
        </p:nvSpPr>
        <p:spPr bwMode="auto">
          <a:xfrm>
            <a:off x="13447" y="6122614"/>
            <a:ext cx="9144000" cy="0"/>
          </a:xfrm>
          <a:prstGeom prst="line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79" name="Text Box 7"/>
          <p:cNvSpPr txBox="1">
            <a:spLocks noChangeArrowheads="1"/>
          </p:cNvSpPr>
          <p:nvPr/>
        </p:nvSpPr>
        <p:spPr bwMode="auto">
          <a:xfrm>
            <a:off x="0" y="26894"/>
            <a:ext cx="8686800" cy="584775"/>
          </a:xfrm>
          <a:prstGeom prst="rect">
            <a:avLst/>
          </a:prstGeom>
          <a:solidFill>
            <a:schemeClr val="accent2"/>
          </a:solidFill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3200" b="1" dirty="0" err="1" smtClean="0">
                <a:solidFill>
                  <a:srgbClr val="FFFF00"/>
                </a:solidFill>
                <a:latin typeface="Bookman Old Style" pitchFamily="18" charset="0"/>
              </a:rPr>
              <a:t>Bancassurance</a:t>
            </a:r>
            <a:r>
              <a:rPr lang="en-US" sz="3200" b="1" dirty="0" smtClean="0">
                <a:solidFill>
                  <a:srgbClr val="FFFF00"/>
                </a:solidFill>
                <a:latin typeface="Bookman Old Style" pitchFamily="18" charset="0"/>
              </a:rPr>
              <a:t> (in non life Insurance)  </a:t>
            </a:r>
            <a:endParaRPr lang="en-GB" sz="3600" dirty="0">
              <a:solidFill>
                <a:srgbClr val="0033CC"/>
              </a:solidFill>
            </a:endParaRPr>
          </a:p>
        </p:txBody>
      </p:sp>
      <p:pic>
        <p:nvPicPr>
          <p:cNvPr id="9" name="Picture 2" descr="http://4.bp.blogspot.com/_M9ckjS8Bq4Y/S_tFrxBLP4I/AAAAAAAADI4/gOGLDs18AG0/s400/New+India+Assurance+Co+Ltd+Logo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447" y="6121027"/>
            <a:ext cx="685800" cy="682625"/>
          </a:xfrm>
          <a:prstGeom prst="rect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-8965" y="669940"/>
            <a:ext cx="5571565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2000" b="1" dirty="0" smtClean="0">
                <a:solidFill>
                  <a:srgbClr val="000099"/>
                </a:solidFill>
                <a:latin typeface="Bookman Old Style" pitchFamily="18" charset="0"/>
              </a:rPr>
              <a:t>Banks &amp; General Insurance Company’s are very old business associates.</a:t>
            </a:r>
          </a:p>
          <a:p>
            <a:pPr algn="just"/>
            <a:endParaRPr lang="en-US" sz="2000" b="1" dirty="0">
              <a:solidFill>
                <a:srgbClr val="000099"/>
              </a:solidFill>
              <a:latin typeface="Bookman Old Style" pitchFamily="18" charset="0"/>
            </a:endParaRPr>
          </a:p>
          <a:p>
            <a:pPr algn="just"/>
            <a:r>
              <a:rPr lang="en-US" sz="2000" b="1" dirty="0" smtClean="0">
                <a:solidFill>
                  <a:srgbClr val="000099"/>
                </a:solidFill>
                <a:latin typeface="Bookman Old Style" pitchFamily="18" charset="0"/>
              </a:rPr>
              <a:t>A significant part of income of non life insurers were Bank driven </a:t>
            </a:r>
          </a:p>
          <a:p>
            <a:pPr algn="just"/>
            <a:endParaRPr lang="en-US" sz="2000" b="1" dirty="0">
              <a:solidFill>
                <a:srgbClr val="000099"/>
              </a:solidFill>
              <a:latin typeface="Bookman Old Style" pitchFamily="18" charset="0"/>
            </a:endParaRPr>
          </a:p>
          <a:p>
            <a:pPr algn="just"/>
            <a:r>
              <a:rPr lang="en-US" sz="2000" b="1" dirty="0" smtClean="0">
                <a:solidFill>
                  <a:srgbClr val="000099"/>
                </a:solidFill>
                <a:latin typeface="Bookman Old Style" pitchFamily="18" charset="0"/>
              </a:rPr>
              <a:t>The Rural development initiatives of 80’s  and early 90s such as IRDP, DRDA were driven by Bank – insurer partnership </a:t>
            </a:r>
          </a:p>
          <a:p>
            <a:pPr algn="just"/>
            <a:endParaRPr lang="en-US" sz="2000" b="1" dirty="0">
              <a:solidFill>
                <a:srgbClr val="000099"/>
              </a:solidFill>
              <a:latin typeface="Bookman Old Style" pitchFamily="18" charset="0"/>
            </a:endParaRPr>
          </a:p>
          <a:p>
            <a:pPr algn="just"/>
            <a:r>
              <a:rPr lang="en-US" sz="2000" b="1" dirty="0" smtClean="0">
                <a:solidFill>
                  <a:srgbClr val="000099"/>
                </a:solidFill>
                <a:latin typeface="Bookman Old Style" pitchFamily="18" charset="0"/>
              </a:rPr>
              <a:t>The Relationship of Life insurers  and Banks started growing after 2001 when the regulations came. </a:t>
            </a:r>
          </a:p>
          <a:p>
            <a:pPr algn="just"/>
            <a:endParaRPr lang="en-US" sz="2000" b="1" dirty="0">
              <a:solidFill>
                <a:srgbClr val="000099"/>
              </a:solidFill>
              <a:latin typeface="Bookman Old Style" pitchFamily="18" charset="0"/>
            </a:endParaRPr>
          </a:p>
          <a:p>
            <a:pPr algn="just"/>
            <a:r>
              <a:rPr lang="en-US" sz="2000" b="1" dirty="0" smtClean="0">
                <a:solidFill>
                  <a:srgbClr val="000099"/>
                </a:solidFill>
                <a:latin typeface="Bookman Old Style" pitchFamily="18" charset="0"/>
              </a:rPr>
              <a:t>Only the term </a:t>
            </a:r>
            <a:r>
              <a:rPr lang="en-US" sz="2000" b="1" dirty="0" err="1" smtClean="0">
                <a:solidFill>
                  <a:srgbClr val="000099"/>
                </a:solidFill>
                <a:latin typeface="Bookman Old Style" pitchFamily="18" charset="0"/>
              </a:rPr>
              <a:t>Bancassurance</a:t>
            </a:r>
            <a:r>
              <a:rPr lang="en-US" sz="2000" b="1" dirty="0" smtClean="0">
                <a:solidFill>
                  <a:srgbClr val="000099"/>
                </a:solidFill>
                <a:latin typeface="Bookman Old Style" pitchFamily="18" charset="0"/>
              </a:rPr>
              <a:t> is rather new. </a:t>
            </a:r>
          </a:p>
          <a:p>
            <a:pPr algn="just"/>
            <a:endParaRPr lang="en-US" b="1" dirty="0">
              <a:solidFill>
                <a:srgbClr val="000099"/>
              </a:solidFill>
              <a:latin typeface="Bookman Old Style" pitchFamily="18" charset="0"/>
            </a:endParaRPr>
          </a:p>
          <a:p>
            <a:pPr algn="just"/>
            <a:endParaRPr lang="en-US" b="1" dirty="0">
              <a:solidFill>
                <a:srgbClr val="000099"/>
              </a:solidFill>
              <a:latin typeface="Bookman Old Style" pitchFamily="18" charset="0"/>
            </a:endParaRPr>
          </a:p>
        </p:txBody>
      </p:sp>
      <p:pic>
        <p:nvPicPr>
          <p:cNvPr id="13926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5885" y="2209800"/>
            <a:ext cx="3359150" cy="2079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73744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logo"/>
          <p:cNvPicPr>
            <a:picLocks noChangeAspect="1" noChangeArrowheads="1"/>
          </p:cNvPicPr>
          <p:nvPr/>
        </p:nvPicPr>
        <p:blipFill>
          <a:blip r:embed="rId3" cstate="print"/>
          <a:srcRect l="46928" t="3845" r="6087" b="89449"/>
          <a:stretch>
            <a:fillRect/>
          </a:stretch>
        </p:blipFill>
        <p:spPr bwMode="auto">
          <a:xfrm>
            <a:off x="5271247" y="6141664"/>
            <a:ext cx="3886200" cy="666750"/>
          </a:xfrm>
          <a:prstGeom prst="rect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sp>
        <p:nvSpPr>
          <p:cNvPr id="3078" name="Line 6"/>
          <p:cNvSpPr>
            <a:spLocks noChangeShapeType="1"/>
          </p:cNvSpPr>
          <p:nvPr/>
        </p:nvSpPr>
        <p:spPr bwMode="auto">
          <a:xfrm>
            <a:off x="13447" y="6122614"/>
            <a:ext cx="9144000" cy="0"/>
          </a:xfrm>
          <a:prstGeom prst="line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79" name="Text Box 7"/>
          <p:cNvSpPr txBox="1">
            <a:spLocks noChangeArrowheads="1"/>
          </p:cNvSpPr>
          <p:nvPr/>
        </p:nvSpPr>
        <p:spPr bwMode="auto">
          <a:xfrm>
            <a:off x="0" y="26894"/>
            <a:ext cx="8686800" cy="584775"/>
          </a:xfrm>
          <a:prstGeom prst="rect">
            <a:avLst/>
          </a:prstGeom>
          <a:solidFill>
            <a:schemeClr val="accent2"/>
          </a:solidFill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3200" b="1" dirty="0" err="1" smtClean="0">
                <a:solidFill>
                  <a:srgbClr val="FFFF00"/>
                </a:solidFill>
                <a:latin typeface="Bookman Old Style" pitchFamily="18" charset="0"/>
              </a:rPr>
              <a:t>Bancassurance</a:t>
            </a:r>
            <a:r>
              <a:rPr lang="en-US" sz="3200" b="1" dirty="0" smtClean="0">
                <a:solidFill>
                  <a:srgbClr val="FFFF00"/>
                </a:solidFill>
                <a:latin typeface="Bookman Old Style" pitchFamily="18" charset="0"/>
              </a:rPr>
              <a:t> (in non life Insurance)  </a:t>
            </a:r>
            <a:endParaRPr lang="en-GB" sz="3600" dirty="0">
              <a:solidFill>
                <a:srgbClr val="0033CC"/>
              </a:solidFill>
            </a:endParaRPr>
          </a:p>
        </p:txBody>
      </p:sp>
      <p:pic>
        <p:nvPicPr>
          <p:cNvPr id="9" name="Picture 2" descr="http://4.bp.blogspot.com/_M9ckjS8Bq4Y/S_tFrxBLP4I/AAAAAAAADI4/gOGLDs18AG0/s400/New+India+Assurance+Co+Ltd+Logo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447" y="6121027"/>
            <a:ext cx="685800" cy="682625"/>
          </a:xfrm>
          <a:prstGeom prst="rect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-8965" y="669940"/>
            <a:ext cx="8763000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b="1" dirty="0" smtClean="0">
                <a:solidFill>
                  <a:srgbClr val="000099"/>
                </a:solidFill>
                <a:latin typeface="Bookman Old Style" pitchFamily="18" charset="0"/>
              </a:rPr>
              <a:t>Banks have insurable interest in the assets on which they have give credits &amp; assets pledged to them. </a:t>
            </a:r>
          </a:p>
          <a:p>
            <a:pPr algn="just"/>
            <a:endParaRPr lang="en-US" b="1" dirty="0">
              <a:solidFill>
                <a:srgbClr val="000099"/>
              </a:solidFill>
              <a:latin typeface="Bookman Old Style" pitchFamily="18" charset="0"/>
            </a:endParaRPr>
          </a:p>
          <a:p>
            <a:pPr algn="just"/>
            <a:r>
              <a:rPr lang="en-US" b="1" dirty="0" smtClean="0">
                <a:solidFill>
                  <a:srgbClr val="000099"/>
                </a:solidFill>
                <a:latin typeface="Bookman Old Style" pitchFamily="18" charset="0"/>
              </a:rPr>
              <a:t>They can fill the proposal forms  and pay premium . KYC can stop with them . We have mortgage clause , Hypothecation clause.</a:t>
            </a:r>
          </a:p>
          <a:p>
            <a:pPr algn="just"/>
            <a:endParaRPr lang="en-US" b="1" dirty="0">
              <a:solidFill>
                <a:srgbClr val="000099"/>
              </a:solidFill>
              <a:latin typeface="Bookman Old Style" pitchFamily="18" charset="0"/>
            </a:endParaRPr>
          </a:p>
          <a:p>
            <a:pPr algn="just"/>
            <a:r>
              <a:rPr lang="en-US" b="1" dirty="0" smtClean="0">
                <a:solidFill>
                  <a:srgbClr val="000099"/>
                </a:solidFill>
                <a:latin typeface="Bookman Old Style" pitchFamily="18" charset="0"/>
              </a:rPr>
              <a:t>All Bank Branches where credit business is done , will certainly have a non life Insurance Policy </a:t>
            </a:r>
          </a:p>
          <a:p>
            <a:pPr algn="just"/>
            <a:endParaRPr lang="en-US" b="1" dirty="0">
              <a:solidFill>
                <a:srgbClr val="000099"/>
              </a:solidFill>
              <a:latin typeface="Bookman Old Style" pitchFamily="18" charset="0"/>
            </a:endParaRPr>
          </a:p>
          <a:p>
            <a:pPr algn="just"/>
            <a:r>
              <a:rPr lang="en-US" b="1" dirty="0" smtClean="0">
                <a:solidFill>
                  <a:srgbClr val="000099"/>
                </a:solidFill>
                <a:latin typeface="Bookman Old Style" pitchFamily="18" charset="0"/>
              </a:rPr>
              <a:t>Bank Managers are fairly conversant with General insurance </a:t>
            </a:r>
          </a:p>
          <a:p>
            <a:pPr algn="just"/>
            <a:endParaRPr lang="en-US" b="1" dirty="0">
              <a:solidFill>
                <a:srgbClr val="000099"/>
              </a:solidFill>
              <a:latin typeface="Bookman Old Style" pitchFamily="18" charset="0"/>
            </a:endParaRPr>
          </a:p>
          <a:p>
            <a:pPr algn="just"/>
            <a:r>
              <a:rPr lang="en-US" b="1" dirty="0" smtClean="0">
                <a:solidFill>
                  <a:srgbClr val="000099"/>
                </a:solidFill>
                <a:latin typeface="Bookman Old Style" pitchFamily="18" charset="0"/>
              </a:rPr>
              <a:t>No major instances of </a:t>
            </a:r>
            <a:r>
              <a:rPr lang="en-US" b="1" dirty="0" err="1" smtClean="0">
                <a:solidFill>
                  <a:srgbClr val="000099"/>
                </a:solidFill>
                <a:latin typeface="Bookman Old Style" pitchFamily="18" charset="0"/>
              </a:rPr>
              <a:t>mis</a:t>
            </a:r>
            <a:r>
              <a:rPr lang="en-US" b="1" dirty="0" smtClean="0">
                <a:solidFill>
                  <a:srgbClr val="000099"/>
                </a:solidFill>
                <a:latin typeface="Bookman Old Style" pitchFamily="18" charset="0"/>
              </a:rPr>
              <a:t>-selling or forced selling </a:t>
            </a:r>
          </a:p>
          <a:p>
            <a:pPr algn="just"/>
            <a:endParaRPr lang="en-US" b="1" dirty="0">
              <a:solidFill>
                <a:srgbClr val="000099"/>
              </a:solidFill>
              <a:latin typeface="Bookman Old Styl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9380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logo"/>
          <p:cNvPicPr>
            <a:picLocks noChangeAspect="1" noChangeArrowheads="1"/>
          </p:cNvPicPr>
          <p:nvPr/>
        </p:nvPicPr>
        <p:blipFill>
          <a:blip r:embed="rId3" cstate="print"/>
          <a:srcRect l="46928" t="3845" r="6087" b="89449"/>
          <a:stretch>
            <a:fillRect/>
          </a:stretch>
        </p:blipFill>
        <p:spPr bwMode="auto">
          <a:xfrm>
            <a:off x="5271247" y="6141664"/>
            <a:ext cx="3886200" cy="666750"/>
          </a:xfrm>
          <a:prstGeom prst="rect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sp>
        <p:nvSpPr>
          <p:cNvPr id="3078" name="Line 6"/>
          <p:cNvSpPr>
            <a:spLocks noChangeShapeType="1"/>
          </p:cNvSpPr>
          <p:nvPr/>
        </p:nvSpPr>
        <p:spPr bwMode="auto">
          <a:xfrm>
            <a:off x="13447" y="6122614"/>
            <a:ext cx="9144000" cy="0"/>
          </a:xfrm>
          <a:prstGeom prst="line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79" name="Text Box 7"/>
          <p:cNvSpPr txBox="1">
            <a:spLocks noChangeArrowheads="1"/>
          </p:cNvSpPr>
          <p:nvPr/>
        </p:nvSpPr>
        <p:spPr bwMode="auto">
          <a:xfrm>
            <a:off x="22411" y="-49586"/>
            <a:ext cx="9135036" cy="523220"/>
          </a:xfrm>
          <a:prstGeom prst="rect">
            <a:avLst/>
          </a:prstGeom>
          <a:solidFill>
            <a:schemeClr val="accent2"/>
          </a:solidFill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800" b="1" dirty="0" smtClean="0">
                <a:solidFill>
                  <a:srgbClr val="FFFF00"/>
                </a:solidFill>
                <a:latin typeface="Bookman Old Style" pitchFamily="18" charset="0"/>
              </a:rPr>
              <a:t>Stages of </a:t>
            </a:r>
            <a:r>
              <a:rPr lang="en-US" sz="2800" b="1" dirty="0" err="1" smtClean="0">
                <a:solidFill>
                  <a:srgbClr val="FFFF00"/>
                </a:solidFill>
                <a:latin typeface="Bookman Old Style" pitchFamily="18" charset="0"/>
              </a:rPr>
              <a:t>Bancassurance</a:t>
            </a:r>
            <a:endParaRPr lang="en-GB" sz="3200" dirty="0">
              <a:solidFill>
                <a:srgbClr val="0033CC"/>
              </a:solidFill>
            </a:endParaRPr>
          </a:p>
        </p:txBody>
      </p:sp>
      <p:pic>
        <p:nvPicPr>
          <p:cNvPr id="9" name="Picture 2" descr="http://4.bp.blogspot.com/_M9ckjS8Bq4Y/S_tFrxBLP4I/AAAAAAAADI4/gOGLDs18AG0/s400/New+India+Assurance+Co+Ltd+Logo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447" y="6121027"/>
            <a:ext cx="685800" cy="682625"/>
          </a:xfrm>
          <a:prstGeom prst="rect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2030564630"/>
              </p:ext>
            </p:extLst>
          </p:nvPr>
        </p:nvGraphicFramePr>
        <p:xfrm>
          <a:off x="96370" y="609600"/>
          <a:ext cx="8787653" cy="533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</p:spTree>
    <p:extLst>
      <p:ext uri="{BB962C8B-B14F-4D97-AF65-F5344CB8AC3E}">
        <p14:creationId xmlns:p14="http://schemas.microsoft.com/office/powerpoint/2010/main" val="2834627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9EBDF5FA-2175-44B7-99FE-27D92C3754A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>
                                            <p:graphicEl>
                                              <a:dgm id="{9EBDF5FA-2175-44B7-99FE-27D92C3754A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>
                                            <p:graphicEl>
                                              <a:dgm id="{9EBDF5FA-2175-44B7-99FE-27D92C3754A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82E7902A-60F5-429B-AC6C-456E63825A0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">
                                            <p:graphicEl>
                                              <a:dgm id="{82E7902A-60F5-429B-AC6C-456E63825A0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">
                                            <p:graphicEl>
                                              <a:dgm id="{82E7902A-60F5-429B-AC6C-456E63825A0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085FFDAC-3FE4-41DB-90DC-0C822155528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">
                                            <p:graphicEl>
                                              <a:dgm id="{085FFDAC-3FE4-41DB-90DC-0C822155528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">
                                            <p:graphicEl>
                                              <a:dgm id="{085FFDAC-3FE4-41DB-90DC-0C822155528E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8167A335-BDBE-4053-8203-26C52B5EF67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">
                                            <p:graphicEl>
                                              <a:dgm id="{8167A335-BDBE-4053-8203-26C52B5EF67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">
                                            <p:graphicEl>
                                              <a:dgm id="{8167A335-BDBE-4053-8203-26C52B5EF67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7237472D-84AF-4882-B026-549CB5821C04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">
                                            <p:graphicEl>
                                              <a:dgm id="{7237472D-84AF-4882-B026-549CB5821C0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">
                                            <p:graphicEl>
                                              <a:dgm id="{7237472D-84AF-4882-B026-549CB5821C04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574F35FB-B1C9-44E7-AAAF-561AFD7793C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">
                                            <p:graphicEl>
                                              <a:dgm id="{574F35FB-B1C9-44E7-AAAF-561AFD7793C1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">
                                            <p:graphicEl>
                                              <a:dgm id="{574F35FB-B1C9-44E7-AAAF-561AFD7793C1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193276E1-B70D-4099-A5BA-B4299B1BF9A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">
                                            <p:graphicEl>
                                              <a:dgm id="{193276E1-B70D-4099-A5BA-B4299B1BF9A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">
                                            <p:graphicEl>
                                              <a:dgm id="{193276E1-B70D-4099-A5BA-B4299B1BF9AB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2C3B86D8-0C4F-419E-AF4B-C9536176711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">
                                            <p:graphicEl>
                                              <a:dgm id="{2C3B86D8-0C4F-419E-AF4B-C9536176711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">
                                            <p:graphicEl>
                                              <a:dgm id="{2C3B86D8-0C4F-419E-AF4B-C9536176711F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graphicEl>
                                              <a:dgm id="{D937BCB4-23E6-4662-9FF9-BAD2CA9147F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">
                                            <p:graphicEl>
                                              <a:dgm id="{D937BCB4-23E6-4662-9FF9-BAD2CA9147F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">
                                            <p:graphicEl>
                                              <a:dgm id="{D937BCB4-23E6-4662-9FF9-BAD2CA9147F8}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Sub>
          <a:bldDgm bld="one"/>
        </p:bldSub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logo"/>
          <p:cNvPicPr>
            <a:picLocks noChangeAspect="1" noChangeArrowheads="1"/>
          </p:cNvPicPr>
          <p:nvPr/>
        </p:nvPicPr>
        <p:blipFill>
          <a:blip r:embed="rId3" cstate="print"/>
          <a:srcRect l="46928" t="3845" r="6087" b="89449"/>
          <a:stretch>
            <a:fillRect/>
          </a:stretch>
        </p:blipFill>
        <p:spPr bwMode="auto">
          <a:xfrm>
            <a:off x="5271247" y="6141664"/>
            <a:ext cx="3886200" cy="666750"/>
          </a:xfrm>
          <a:prstGeom prst="rect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sp>
        <p:nvSpPr>
          <p:cNvPr id="3078" name="Line 6"/>
          <p:cNvSpPr>
            <a:spLocks noChangeShapeType="1"/>
          </p:cNvSpPr>
          <p:nvPr/>
        </p:nvSpPr>
        <p:spPr bwMode="auto">
          <a:xfrm>
            <a:off x="13447" y="6122614"/>
            <a:ext cx="9144000" cy="0"/>
          </a:xfrm>
          <a:prstGeom prst="line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79" name="Text Box 7"/>
          <p:cNvSpPr txBox="1">
            <a:spLocks noChangeArrowheads="1"/>
          </p:cNvSpPr>
          <p:nvPr/>
        </p:nvSpPr>
        <p:spPr bwMode="auto">
          <a:xfrm>
            <a:off x="22411" y="-49586"/>
            <a:ext cx="9135036" cy="523220"/>
          </a:xfrm>
          <a:prstGeom prst="rect">
            <a:avLst/>
          </a:prstGeom>
          <a:solidFill>
            <a:schemeClr val="accent2"/>
          </a:solidFill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800" b="1" dirty="0" smtClean="0">
                <a:solidFill>
                  <a:srgbClr val="FFFF00"/>
                </a:solidFill>
                <a:latin typeface="Bookman Old Style" pitchFamily="18" charset="0"/>
              </a:rPr>
              <a:t>IT Driven Business platforms </a:t>
            </a:r>
            <a:endParaRPr lang="en-GB" sz="3200" dirty="0">
              <a:solidFill>
                <a:srgbClr val="0033CC"/>
              </a:solidFill>
            </a:endParaRPr>
          </a:p>
        </p:txBody>
      </p:sp>
      <p:pic>
        <p:nvPicPr>
          <p:cNvPr id="9" name="Picture 2" descr="http://4.bp.blogspot.com/_M9ckjS8Bq4Y/S_tFrxBLP4I/AAAAAAAADI4/gOGLDs18AG0/s400/New+India+Assurance+Co+Ltd+Logo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447" y="6121027"/>
            <a:ext cx="685800" cy="682625"/>
          </a:xfrm>
          <a:prstGeom prst="rect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-8965" y="669940"/>
            <a:ext cx="4961965" cy="53860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b="1" dirty="0" smtClean="0">
              <a:solidFill>
                <a:srgbClr val="000099"/>
              </a:solidFill>
              <a:latin typeface="Bookman Old Style" pitchFamily="18" charset="0"/>
            </a:endParaRPr>
          </a:p>
          <a:p>
            <a:pPr algn="just"/>
            <a:r>
              <a:rPr lang="en-US" sz="2000" b="1" dirty="0" smtClean="0">
                <a:solidFill>
                  <a:srgbClr val="000099"/>
                </a:solidFill>
                <a:latin typeface="Bookman Old Style" pitchFamily="18" charset="0"/>
              </a:rPr>
              <a:t>Master details available at Central offices of Banks  and can be placed for Insurance </a:t>
            </a:r>
          </a:p>
          <a:p>
            <a:pPr algn="just"/>
            <a:endParaRPr lang="en-US" sz="2000" b="1" dirty="0">
              <a:solidFill>
                <a:srgbClr val="000099"/>
              </a:solidFill>
              <a:latin typeface="Bookman Old Style" pitchFamily="18" charset="0"/>
            </a:endParaRPr>
          </a:p>
          <a:p>
            <a:pPr algn="just"/>
            <a:r>
              <a:rPr lang="en-US" sz="2000" b="1" dirty="0" smtClean="0">
                <a:solidFill>
                  <a:srgbClr val="000099"/>
                </a:solidFill>
                <a:latin typeface="Bookman Old Style" pitchFamily="18" charset="0"/>
              </a:rPr>
              <a:t>The Financial inclusion Model ( Business correspondents / Customer service person / Hand held devices ) </a:t>
            </a:r>
          </a:p>
          <a:p>
            <a:pPr algn="just"/>
            <a:endParaRPr lang="en-US" sz="2000" b="1" dirty="0">
              <a:solidFill>
                <a:srgbClr val="000099"/>
              </a:solidFill>
              <a:latin typeface="Bookman Old Style" pitchFamily="18" charset="0"/>
            </a:endParaRPr>
          </a:p>
          <a:p>
            <a:pPr algn="just"/>
            <a:r>
              <a:rPr lang="en-US" sz="2000" b="1" dirty="0" smtClean="0">
                <a:solidFill>
                  <a:srgbClr val="000099"/>
                </a:solidFill>
                <a:latin typeface="Bookman Old Style" pitchFamily="18" charset="0"/>
              </a:rPr>
              <a:t>Insurance covers embedded in Debit/ ATM/ Credit Cards </a:t>
            </a:r>
          </a:p>
          <a:p>
            <a:pPr algn="just"/>
            <a:endParaRPr lang="en-US" sz="2000" b="1" dirty="0">
              <a:solidFill>
                <a:srgbClr val="000099"/>
              </a:solidFill>
              <a:latin typeface="Bookman Old Style" pitchFamily="18" charset="0"/>
            </a:endParaRPr>
          </a:p>
          <a:p>
            <a:pPr algn="just"/>
            <a:r>
              <a:rPr lang="en-US" sz="2000" b="1" dirty="0" smtClean="0">
                <a:solidFill>
                  <a:srgbClr val="000099"/>
                </a:solidFill>
                <a:latin typeface="Bookman Old Style" pitchFamily="18" charset="0"/>
              </a:rPr>
              <a:t>Insurance from ATMs / Renewal facility </a:t>
            </a:r>
          </a:p>
          <a:p>
            <a:pPr algn="just"/>
            <a:endParaRPr lang="en-US" sz="2000" b="1" dirty="0">
              <a:solidFill>
                <a:srgbClr val="000099"/>
              </a:solidFill>
              <a:latin typeface="Bookman Old Style" pitchFamily="18" charset="0"/>
            </a:endParaRPr>
          </a:p>
          <a:p>
            <a:pPr algn="just"/>
            <a:r>
              <a:rPr lang="en-US" sz="2000" b="1" dirty="0" smtClean="0">
                <a:solidFill>
                  <a:srgbClr val="000099"/>
                </a:solidFill>
                <a:latin typeface="Bookman Old Style" pitchFamily="18" charset="0"/>
              </a:rPr>
              <a:t>Web Based Insurance interfaces</a:t>
            </a:r>
            <a:endParaRPr lang="en-US" sz="2000" b="1" dirty="0">
              <a:solidFill>
                <a:srgbClr val="000099"/>
              </a:solidFill>
              <a:latin typeface="Bookman Old Style" pitchFamily="18" charset="0"/>
            </a:endParaRPr>
          </a:p>
        </p:txBody>
      </p:sp>
      <p:pic>
        <p:nvPicPr>
          <p:cNvPr id="14029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4417" y="496046"/>
            <a:ext cx="3679584" cy="25519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029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6873" y="3429000"/>
            <a:ext cx="3486150" cy="2438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10428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logo"/>
          <p:cNvPicPr>
            <a:picLocks noChangeAspect="1" noChangeArrowheads="1"/>
          </p:cNvPicPr>
          <p:nvPr/>
        </p:nvPicPr>
        <p:blipFill>
          <a:blip r:embed="rId3" cstate="print"/>
          <a:srcRect l="46928" t="3845" r="6087" b="89449"/>
          <a:stretch>
            <a:fillRect/>
          </a:stretch>
        </p:blipFill>
        <p:spPr bwMode="auto">
          <a:xfrm>
            <a:off x="5271247" y="6141664"/>
            <a:ext cx="3886200" cy="666750"/>
          </a:xfrm>
          <a:prstGeom prst="rect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sp>
        <p:nvSpPr>
          <p:cNvPr id="3078" name="Line 6"/>
          <p:cNvSpPr>
            <a:spLocks noChangeShapeType="1"/>
          </p:cNvSpPr>
          <p:nvPr/>
        </p:nvSpPr>
        <p:spPr bwMode="auto">
          <a:xfrm>
            <a:off x="13447" y="6122614"/>
            <a:ext cx="9144000" cy="0"/>
          </a:xfrm>
          <a:prstGeom prst="line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79" name="Text Box 7"/>
          <p:cNvSpPr txBox="1">
            <a:spLocks noChangeArrowheads="1"/>
          </p:cNvSpPr>
          <p:nvPr/>
        </p:nvSpPr>
        <p:spPr bwMode="auto">
          <a:xfrm>
            <a:off x="22411" y="-49586"/>
            <a:ext cx="9135036" cy="523220"/>
          </a:xfrm>
          <a:prstGeom prst="rect">
            <a:avLst/>
          </a:prstGeom>
          <a:solidFill>
            <a:schemeClr val="accent2"/>
          </a:solidFill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800" b="1" dirty="0" smtClean="0">
                <a:solidFill>
                  <a:srgbClr val="FFFF00"/>
                </a:solidFill>
                <a:latin typeface="Bookman Old Style" pitchFamily="18" charset="0"/>
              </a:rPr>
              <a:t>Synergy </a:t>
            </a:r>
            <a:endParaRPr lang="en-GB" sz="3200" dirty="0">
              <a:solidFill>
                <a:srgbClr val="0033CC"/>
              </a:solidFill>
            </a:endParaRPr>
          </a:p>
        </p:txBody>
      </p:sp>
      <p:pic>
        <p:nvPicPr>
          <p:cNvPr id="9" name="Picture 2" descr="http://4.bp.blogspot.com/_M9ckjS8Bq4Y/S_tFrxBLP4I/AAAAAAAADI4/gOGLDs18AG0/s400/New+India+Assurance+Co+Ltd+Logo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447" y="6121027"/>
            <a:ext cx="685800" cy="682625"/>
          </a:xfrm>
          <a:prstGeom prst="rect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-8965" y="473396"/>
            <a:ext cx="8763000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US" b="1" dirty="0" smtClean="0">
              <a:solidFill>
                <a:srgbClr val="000099"/>
              </a:solidFill>
              <a:latin typeface="Bookman Old Style" pitchFamily="18" charset="0"/>
            </a:endParaRPr>
          </a:p>
          <a:p>
            <a:pPr algn="just"/>
            <a:r>
              <a:rPr lang="en-US" b="1" dirty="0" smtClean="0">
                <a:solidFill>
                  <a:srgbClr val="000099"/>
                </a:solidFill>
                <a:latin typeface="Bookman Old Style" pitchFamily="18" charset="0"/>
              </a:rPr>
              <a:t>Despite the banks promoting  and co-owning the Insurance Companies in General insurance , they are no distortion . </a:t>
            </a:r>
          </a:p>
          <a:p>
            <a:pPr algn="just"/>
            <a:endParaRPr lang="en-US" b="1" dirty="0">
              <a:solidFill>
                <a:srgbClr val="000099"/>
              </a:solidFill>
              <a:latin typeface="Bookman Old Style" pitchFamily="18" charset="0"/>
            </a:endParaRPr>
          </a:p>
          <a:p>
            <a:pPr algn="just"/>
            <a:r>
              <a:rPr lang="en-US" b="1" dirty="0" smtClean="0">
                <a:solidFill>
                  <a:srgbClr val="000099"/>
                </a:solidFill>
                <a:latin typeface="Bookman Old Style" pitchFamily="18" charset="0"/>
              </a:rPr>
              <a:t>The collaboration  and symbiosis between banks &amp; General Insurers are need based, long lasting  and integra</a:t>
            </a:r>
            <a:r>
              <a:rPr lang="en-US" b="1" dirty="0" smtClean="0">
                <a:solidFill>
                  <a:srgbClr val="000099"/>
                </a:solidFill>
                <a:latin typeface="Bookman Old Style" pitchFamily="18" charset="0"/>
              </a:rPr>
              <a:t>l part of the Financial services system .</a:t>
            </a:r>
          </a:p>
          <a:p>
            <a:pPr algn="just"/>
            <a:endParaRPr lang="en-US" b="1" dirty="0">
              <a:solidFill>
                <a:srgbClr val="000099"/>
              </a:solidFill>
              <a:latin typeface="Bookman Old Style" pitchFamily="18" charset="0"/>
            </a:endParaRPr>
          </a:p>
          <a:p>
            <a:pPr algn="just"/>
            <a:r>
              <a:rPr lang="en-US" b="1" dirty="0" smtClean="0">
                <a:solidFill>
                  <a:srgbClr val="000099"/>
                </a:solidFill>
                <a:latin typeface="Bookman Old Style" pitchFamily="18" charset="0"/>
              </a:rPr>
              <a:t>The large number of Bank branches &amp; the reach, </a:t>
            </a:r>
            <a:r>
              <a:rPr lang="en-US" b="1" dirty="0" err="1" smtClean="0">
                <a:solidFill>
                  <a:srgbClr val="000099"/>
                </a:solidFill>
                <a:latin typeface="Bookman Old Style" pitchFamily="18" charset="0"/>
              </a:rPr>
              <a:t>Swabhiman</a:t>
            </a:r>
            <a:r>
              <a:rPr lang="en-US" b="1" dirty="0" smtClean="0">
                <a:solidFill>
                  <a:srgbClr val="000099"/>
                </a:solidFill>
                <a:latin typeface="Bookman Old Style" pitchFamily="18" charset="0"/>
              </a:rPr>
              <a:t> project &amp; financial inclusion , the priority lending, the operational risk management needs of the Bank </a:t>
            </a:r>
            <a:r>
              <a:rPr lang="en-US" b="1" dirty="0" err="1" smtClean="0">
                <a:solidFill>
                  <a:srgbClr val="000099"/>
                </a:solidFill>
                <a:latin typeface="Bookman Old Style" pitchFamily="18" charset="0"/>
              </a:rPr>
              <a:t>etc</a:t>
            </a:r>
            <a:r>
              <a:rPr lang="en-US" b="1" dirty="0" smtClean="0">
                <a:solidFill>
                  <a:srgbClr val="000099"/>
                </a:solidFill>
                <a:latin typeface="Bookman Old Style" pitchFamily="18" charset="0"/>
              </a:rPr>
              <a:t> would need strong insurance support .</a:t>
            </a:r>
          </a:p>
          <a:p>
            <a:pPr algn="just"/>
            <a:endParaRPr lang="en-US" b="1" dirty="0">
              <a:solidFill>
                <a:srgbClr val="000099"/>
              </a:solidFill>
              <a:latin typeface="Bookman Old Style" pitchFamily="18" charset="0"/>
            </a:endParaRPr>
          </a:p>
          <a:p>
            <a:pPr algn="just"/>
            <a:endParaRPr lang="en-US" b="1" dirty="0">
              <a:solidFill>
                <a:srgbClr val="000099"/>
              </a:solidFill>
              <a:latin typeface="Bookman Old Styl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0428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logo"/>
          <p:cNvPicPr>
            <a:picLocks noChangeAspect="1" noChangeArrowheads="1"/>
          </p:cNvPicPr>
          <p:nvPr/>
        </p:nvPicPr>
        <p:blipFill>
          <a:blip r:embed="rId3" cstate="print"/>
          <a:srcRect l="46928" t="3845" r="6087" b="89449"/>
          <a:stretch>
            <a:fillRect/>
          </a:stretch>
        </p:blipFill>
        <p:spPr bwMode="auto">
          <a:xfrm>
            <a:off x="5271247" y="6141664"/>
            <a:ext cx="3886200" cy="666750"/>
          </a:xfrm>
          <a:prstGeom prst="rect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sp>
        <p:nvSpPr>
          <p:cNvPr id="3078" name="Line 6"/>
          <p:cNvSpPr>
            <a:spLocks noChangeShapeType="1"/>
          </p:cNvSpPr>
          <p:nvPr/>
        </p:nvSpPr>
        <p:spPr bwMode="auto">
          <a:xfrm>
            <a:off x="13447" y="6122614"/>
            <a:ext cx="9144000" cy="0"/>
          </a:xfrm>
          <a:prstGeom prst="line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79" name="Text Box 7"/>
          <p:cNvSpPr txBox="1">
            <a:spLocks noChangeArrowheads="1"/>
          </p:cNvSpPr>
          <p:nvPr/>
        </p:nvSpPr>
        <p:spPr bwMode="auto">
          <a:xfrm>
            <a:off x="-8756" y="3010572"/>
            <a:ext cx="6257156" cy="523220"/>
          </a:xfrm>
          <a:prstGeom prst="rect">
            <a:avLst/>
          </a:prstGeom>
          <a:solidFill>
            <a:schemeClr val="accent2"/>
          </a:solidFill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800" b="1" dirty="0" smtClean="0">
                <a:solidFill>
                  <a:srgbClr val="FFFF00"/>
                </a:solidFill>
                <a:latin typeface="Bookman Old Style" pitchFamily="18" charset="0"/>
              </a:rPr>
              <a:t>Thank You </a:t>
            </a:r>
            <a:endParaRPr lang="en-GB" sz="3200" dirty="0">
              <a:solidFill>
                <a:srgbClr val="0033CC"/>
              </a:solidFill>
            </a:endParaRPr>
          </a:p>
        </p:txBody>
      </p:sp>
      <p:pic>
        <p:nvPicPr>
          <p:cNvPr id="9" name="Picture 2" descr="http://4.bp.blogspot.com/_M9ckjS8Bq4Y/S_tFrxBLP4I/AAAAAAAADI4/gOGLDs18AG0/s400/New+India+Assurance+Co+Ltd+Logo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447" y="6121027"/>
            <a:ext cx="685800" cy="682625"/>
          </a:xfrm>
          <a:prstGeom prst="rect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pic>
        <p:nvPicPr>
          <p:cNvPr id="2050" name="Picture 2" descr="http://www.ibom.biz/images/bank-building-icon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6274" y="473634"/>
            <a:ext cx="3171173" cy="2536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9400" y="2928320"/>
            <a:ext cx="2514600" cy="1690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7120" y="4261657"/>
            <a:ext cx="2479160" cy="18593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" name="Straight Connector 2"/>
          <p:cNvCxnSpPr/>
          <p:nvPr/>
        </p:nvCxnSpPr>
        <p:spPr>
          <a:xfrm>
            <a:off x="6248400" y="0"/>
            <a:ext cx="0" cy="6121027"/>
          </a:xfrm>
          <a:prstGeom prst="line">
            <a:avLst/>
          </a:prstGeom>
          <a:ln w="34925" cmpd="sng">
            <a:solidFill>
              <a:schemeClr val="tx2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10428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 descr="logo"/>
          <p:cNvPicPr>
            <a:picLocks noChangeAspect="1" noChangeArrowheads="1"/>
          </p:cNvPicPr>
          <p:nvPr/>
        </p:nvPicPr>
        <p:blipFill>
          <a:blip r:embed="rId3" cstate="print"/>
          <a:srcRect l="46928" t="3845" r="6087" b="89449"/>
          <a:stretch>
            <a:fillRect/>
          </a:stretch>
        </p:blipFill>
        <p:spPr bwMode="auto">
          <a:xfrm>
            <a:off x="5271247" y="6141664"/>
            <a:ext cx="3886200" cy="666750"/>
          </a:xfrm>
          <a:prstGeom prst="rect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  <p:sp>
        <p:nvSpPr>
          <p:cNvPr id="3078" name="Line 6"/>
          <p:cNvSpPr>
            <a:spLocks noChangeShapeType="1"/>
          </p:cNvSpPr>
          <p:nvPr/>
        </p:nvSpPr>
        <p:spPr bwMode="auto">
          <a:xfrm>
            <a:off x="13447" y="6122614"/>
            <a:ext cx="9144000" cy="0"/>
          </a:xfrm>
          <a:prstGeom prst="line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79" name="Text Box 7"/>
          <p:cNvSpPr txBox="1">
            <a:spLocks noChangeArrowheads="1"/>
          </p:cNvSpPr>
          <p:nvPr/>
        </p:nvSpPr>
        <p:spPr bwMode="auto">
          <a:xfrm>
            <a:off x="22411" y="-49586"/>
            <a:ext cx="9135036" cy="523220"/>
          </a:xfrm>
          <a:prstGeom prst="rect">
            <a:avLst/>
          </a:prstGeom>
          <a:solidFill>
            <a:schemeClr val="accent2"/>
          </a:solidFill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800" b="1" dirty="0" smtClean="0">
                <a:solidFill>
                  <a:srgbClr val="FFFF00"/>
                </a:solidFill>
                <a:latin typeface="Bookman Old Style" pitchFamily="18" charset="0"/>
              </a:rPr>
              <a:t>Strategies</a:t>
            </a:r>
            <a:endParaRPr lang="en-GB" sz="3200" dirty="0">
              <a:solidFill>
                <a:srgbClr val="0033CC"/>
              </a:solidFill>
            </a:endParaRPr>
          </a:p>
        </p:txBody>
      </p:sp>
      <p:pic>
        <p:nvPicPr>
          <p:cNvPr id="9" name="Picture 2" descr="http://4.bp.blogspot.com/_M9ckjS8Bq4Y/S_tFrxBLP4I/AAAAAAAADI4/gOGLDs18AG0/s400/New+India+Assurance+Co+Ltd+Logo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447" y="6121027"/>
            <a:ext cx="685800" cy="682625"/>
          </a:xfrm>
          <a:prstGeom prst="rect">
            <a:avLst/>
          </a:prstGeom>
          <a:noFill/>
          <a:ln w="9525" cmpd="thickThin">
            <a:solidFill>
              <a:schemeClr val="tx1">
                <a:lumMod val="75000"/>
                <a:lumOff val="25000"/>
              </a:schemeClr>
            </a:solidFill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910428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YuXI.e9Ui1Gnp2OAdq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YuXI.e9Ui1Gnp2OAdqj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YuXI.e9Ui1Gnp2OAdq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YuXI.e9Ui1Gnp2OAdq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YuXI.e9Ui1Gnp2OAdq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YuXI.e9Ui1Gnp2OAdq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YuXI.e9Ui1Gnp2OAdq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YuXI.e9Ui1Gnp2OAdqjA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Default Design">
      <a:majorFont>
        <a:latin typeface="Times New Roman"/>
        <a:ea typeface=""/>
        <a:cs typeface="Times New Roman"/>
      </a:majorFont>
      <a:minorFont>
        <a:latin typeface="Times New Roman"/>
        <a:ea typeface=""/>
        <a:cs typeface="Times New Roma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73</TotalTime>
  <Words>368</Words>
  <Application>Microsoft Office PowerPoint</Application>
  <PresentationFormat>On-screen Show (4:3)</PresentationFormat>
  <Paragraphs>56</Paragraphs>
  <Slides>9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Default 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c</dc:creator>
  <cp:lastModifiedBy>USER</cp:lastModifiedBy>
  <cp:revision>448</cp:revision>
  <dcterms:created xsi:type="dcterms:W3CDTF">2010-11-29T07:47:56Z</dcterms:created>
  <dcterms:modified xsi:type="dcterms:W3CDTF">2012-07-01T16:48:39Z</dcterms:modified>
</cp:coreProperties>
</file>